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13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14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10.xml" ContentType="application/vnd.openxmlformats-officedocument.presentationml.tags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22"/>
  </p:notesMasterIdLst>
  <p:sldIdLst>
    <p:sldId id="320" r:id="rId6"/>
    <p:sldId id="260" r:id="rId7"/>
    <p:sldId id="262" r:id="rId8"/>
    <p:sldId id="294" r:id="rId9"/>
    <p:sldId id="292" r:id="rId10"/>
    <p:sldId id="304" r:id="rId11"/>
    <p:sldId id="261" r:id="rId12"/>
    <p:sldId id="301" r:id="rId13"/>
    <p:sldId id="312" r:id="rId14"/>
    <p:sldId id="313" r:id="rId15"/>
    <p:sldId id="314" r:id="rId16"/>
    <p:sldId id="315" r:id="rId17"/>
    <p:sldId id="316" r:id="rId18"/>
    <p:sldId id="317" r:id="rId19"/>
    <p:sldId id="319" r:id="rId20"/>
    <p:sldId id="318" r:id="rId21"/>
  </p:sldIdLst>
  <p:sldSz cx="9144000" cy="6858000" type="screen4x3"/>
  <p:notesSz cx="7019925" cy="930592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162" autoAdjust="0"/>
  </p:normalViewPr>
  <p:slideViewPr>
    <p:cSldViewPr>
      <p:cViewPr varScale="1">
        <p:scale>
          <a:sx n="76" d="100"/>
          <a:sy n="76" d="100"/>
        </p:scale>
        <p:origin x="396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image" Target="../media/image6.jp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jpeg"/><Relationship Id="rId4" Type="http://schemas.openxmlformats.org/officeDocument/2006/relationships/image" Target="../media/image12.jpe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image" Target="../media/image6.jp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image" Target="../media/image9.jpeg"/><Relationship Id="rId4" Type="http://schemas.openxmlformats.org/officeDocument/2006/relationships/image" Target="../media/image1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  <dgm:extLst>
        <a:ext uri="{E40237B7-FDA0-4F09-8148-C483321AD2D9}">
          <dgm14:cNvPr xmlns:dgm14="http://schemas.microsoft.com/office/drawing/2010/diagram" id="0" name="" descr="overview"/>
        </a:ext>
      </dgm:extLs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 custLinFactNeighborX="-13148" custLinFactNeighborY="-5775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 custLinFactNeighborX="32573" custLinFactNeighborY="-9095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  <dgm:extLst>
        <a:ext uri="{E40237B7-FDA0-4F09-8148-C483321AD2D9}">
          <dgm14:cNvPr xmlns:dgm14="http://schemas.microsoft.com/office/drawing/2010/diagram" id="0" name="" descr="student data cycle&#10;planning for sy20"/>
        </a:ext>
      </dgm:extLs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 custLinFactNeighborX="-30478" custLinFactNeighborY="-9685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 custLinFactNeighborX="-36009" custLinFactNeighborY="-6208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C1B4EFE-B85A-474E-81D3-D76BFF1CDDC3}" type="doc">
      <dgm:prSet loTypeId="urn:microsoft.com/office/officeart/2005/8/layout/radial6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A94F35D-BCDC-4B05-ADE5-BC51E2784E59}">
      <dgm:prSet phldrT="[Text]" custT="1"/>
      <dgm:spPr/>
      <dgm:t>
        <a:bodyPr/>
        <a:lstStyle/>
        <a:p>
          <a:r>
            <a:rPr lang="en-US" sz="1700" dirty="0">
              <a:latin typeface="Garamond" panose="02020404030301010803" pitchFamily="18" charset="0"/>
            </a:rPr>
            <a:t>High expectations and a one-school, 6-16 model</a:t>
          </a:r>
        </a:p>
      </dgm:t>
      <dgm:extLst>
        <a:ext uri="{E40237B7-FDA0-4F09-8148-C483321AD2D9}">
          <dgm14:cNvPr xmlns:dgm14="http://schemas.microsoft.com/office/drawing/2010/diagram" id="0" name="" descr="high expectations"/>
        </a:ext>
      </dgm:extLst>
    </dgm:pt>
    <dgm:pt modelId="{C08F9C9A-6459-41EC-99D0-FDF669BE5F7C}" type="parTrans" cxnId="{1DED48B2-AD18-4904-84B5-60678C872F3C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9F998031-F9AF-4CEE-B5C2-D473222384C6}" type="sibTrans" cxnId="{1DED48B2-AD18-4904-84B5-60678C872F3C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D9F950BB-FDCC-4D85-9F79-E779F541A7AF}">
      <dgm:prSet phldrT="[Text]"/>
      <dgm:spPr/>
      <dgm:t>
        <a:bodyPr/>
        <a:lstStyle/>
        <a:p>
          <a:r>
            <a:rPr lang="en-US">
              <a:latin typeface="Garamond" panose="02020404030301010803" pitchFamily="18" charset="0"/>
            </a:rPr>
            <a:t>Ethics</a:t>
          </a:r>
        </a:p>
      </dgm:t>
      <dgm:extLst>
        <a:ext uri="{E40237B7-FDA0-4F09-8148-C483321AD2D9}">
          <dgm14:cNvPr xmlns:dgm14="http://schemas.microsoft.com/office/drawing/2010/diagram" id="0" name="" descr="ethics"/>
        </a:ext>
      </dgm:extLst>
    </dgm:pt>
    <dgm:pt modelId="{814D93A4-ACDD-4FF9-B405-07F63BC45DC4}" type="parTrans" cxnId="{DC698CE4-B657-42A0-878F-150635DC0904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C81AB5AB-0443-4854-A071-2901CEFE030B}" type="sibTrans" cxnId="{DC698CE4-B657-42A0-878F-150635DC0904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C400F163-D220-4B68-9869-4967FCB6A0B4}">
      <dgm:prSet phldrT="[Text]"/>
      <dgm:spPr/>
      <dgm:t>
        <a:bodyPr/>
        <a:lstStyle/>
        <a:p>
          <a:r>
            <a:rPr lang="en-US" dirty="0">
              <a:latin typeface="Garamond" panose="02020404030301010803" pitchFamily="18" charset="0"/>
            </a:rPr>
            <a:t>Student supports</a:t>
          </a:r>
        </a:p>
      </dgm:t>
      <dgm:extLst>
        <a:ext uri="{E40237B7-FDA0-4F09-8148-C483321AD2D9}">
          <dgm14:cNvPr xmlns:dgm14="http://schemas.microsoft.com/office/drawing/2010/diagram" id="0" name="" descr="student supports"/>
        </a:ext>
      </dgm:extLst>
    </dgm:pt>
    <dgm:pt modelId="{73EC86DD-0A08-4961-8EDF-5F4770EDDF3C}" type="parTrans" cxnId="{0BFAC23E-61AD-4CF7-A10C-C72DC8B95670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CF1C4070-C673-4E33-89E0-E568805A697F}" type="sibTrans" cxnId="{0BFAC23E-61AD-4CF7-A10C-C72DC8B95670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A0DF2746-79C7-45A8-81D3-3090D7D5C350}">
      <dgm:prSet phldrT="[Text]"/>
      <dgm:spPr/>
      <dgm:t>
        <a:bodyPr/>
        <a:lstStyle/>
        <a:p>
          <a:r>
            <a:rPr lang="en-US" dirty="0">
              <a:latin typeface="Garamond" panose="02020404030301010803" pitchFamily="18" charset="0"/>
            </a:rPr>
            <a:t>Professional excellence</a:t>
          </a:r>
        </a:p>
      </dgm:t>
      <dgm:extLst>
        <a:ext uri="{E40237B7-FDA0-4F09-8148-C483321AD2D9}">
          <dgm14:cNvPr xmlns:dgm14="http://schemas.microsoft.com/office/drawing/2010/diagram" id="0" name="" descr="professional excellence"/>
        </a:ext>
      </dgm:extLst>
    </dgm:pt>
    <dgm:pt modelId="{8C25AD87-ED22-40C7-9106-8C0DF4BE49E3}" type="parTrans" cxnId="{7C679812-6015-4FDD-83C6-8900C7A03600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3A26F75B-D3A3-4D63-841E-502A4C1169B9}" type="sibTrans" cxnId="{7C679812-6015-4FDD-83C6-8900C7A03600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1D32538D-3083-48DE-8EEA-18937E1D4DBF}">
      <dgm:prSet phldrT="[Text]"/>
      <dgm:spPr/>
      <dgm:t>
        <a:bodyPr/>
        <a:lstStyle/>
        <a:p>
          <a:r>
            <a:rPr lang="en-US">
              <a:latin typeface="Garamond" panose="02020404030301010803" pitchFamily="18" charset="0"/>
            </a:rPr>
            <a:t>Alumni supports</a:t>
          </a:r>
        </a:p>
      </dgm:t>
      <dgm:extLst>
        <a:ext uri="{E40237B7-FDA0-4F09-8148-C483321AD2D9}">
          <dgm14:cNvPr xmlns:dgm14="http://schemas.microsoft.com/office/drawing/2010/diagram" id="0" name="" descr="alumni supports"/>
        </a:ext>
      </dgm:extLst>
    </dgm:pt>
    <dgm:pt modelId="{2A7DB6E2-C421-4D06-AA6A-5D30FE784F2B}" type="parTrans" cxnId="{56A722AD-1E51-43DF-8EC2-97183910B32A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2071A7ED-0395-4A49-828E-42B0018FB174}" type="sibTrans" cxnId="{56A722AD-1E51-43DF-8EC2-97183910B32A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918A10B2-C8B7-41FC-94A7-30553DCC730C}">
      <dgm:prSet/>
      <dgm:spPr/>
      <dgm:t>
        <a:bodyPr/>
        <a:lstStyle/>
        <a:p>
          <a:r>
            <a:rPr lang="en-US">
              <a:latin typeface="Garamond" panose="02020404030301010803" pitchFamily="18" charset="0"/>
            </a:rPr>
            <a:t>Rigorous academics</a:t>
          </a:r>
        </a:p>
      </dgm:t>
      <dgm:extLst>
        <a:ext uri="{E40237B7-FDA0-4F09-8148-C483321AD2D9}">
          <dgm14:cNvPr xmlns:dgm14="http://schemas.microsoft.com/office/drawing/2010/diagram" id="0" name="" descr="rigorous academics"/>
        </a:ext>
      </dgm:extLst>
    </dgm:pt>
    <dgm:pt modelId="{6AB52952-FDA5-4CFD-9F96-F593D244E6A2}" type="parTrans" cxnId="{112351BB-F413-49F4-9BBF-DDA68BF5D3B4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BD4EA0D6-0EC3-42C3-9409-747A7C6F9883}" type="sibTrans" cxnId="{112351BB-F413-49F4-9BBF-DDA68BF5D3B4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311E50BF-DC51-4CC3-80FD-B057B4A88B5E}" type="pres">
      <dgm:prSet presAssocID="{AC1B4EFE-B85A-474E-81D3-D76BFF1CDDC3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94CCF0B-9FA0-4BA1-9279-894F84C0D0E1}" type="pres">
      <dgm:prSet presAssocID="{DA94F35D-BCDC-4B05-ADE5-BC51E2784E59}" presName="centerShape" presStyleLbl="node0" presStyleIdx="0" presStyleCnt="1"/>
      <dgm:spPr/>
    </dgm:pt>
    <dgm:pt modelId="{1DABA0EE-F189-4EA9-84FF-F08558422965}" type="pres">
      <dgm:prSet presAssocID="{D9F950BB-FDCC-4D85-9F79-E779F541A7AF}" presName="node" presStyleLbl="node1" presStyleIdx="0" presStyleCnt="5" custScaleX="132407" custScaleY="128069">
        <dgm:presLayoutVars>
          <dgm:bulletEnabled val="1"/>
        </dgm:presLayoutVars>
      </dgm:prSet>
      <dgm:spPr/>
    </dgm:pt>
    <dgm:pt modelId="{48A681C2-6080-41E0-96FD-916D32B4EB00}" type="pres">
      <dgm:prSet presAssocID="{D9F950BB-FDCC-4D85-9F79-E779F541A7AF}" presName="dummy" presStyleCnt="0"/>
      <dgm:spPr/>
    </dgm:pt>
    <dgm:pt modelId="{A5608535-C9BB-4753-B3FA-602492BDAD11}" type="pres">
      <dgm:prSet presAssocID="{C81AB5AB-0443-4854-A071-2901CEFE030B}" presName="sibTrans" presStyleLbl="sibTrans2D1" presStyleIdx="0" presStyleCnt="5"/>
      <dgm:spPr/>
    </dgm:pt>
    <dgm:pt modelId="{809E60D4-BBAC-49F6-B3B4-A89F96F4EF81}" type="pres">
      <dgm:prSet presAssocID="{C400F163-D220-4B68-9869-4967FCB6A0B4}" presName="node" presStyleLbl="node1" presStyleIdx="1" presStyleCnt="5" custScaleX="132407" custScaleY="128069">
        <dgm:presLayoutVars>
          <dgm:bulletEnabled val="1"/>
        </dgm:presLayoutVars>
      </dgm:prSet>
      <dgm:spPr/>
    </dgm:pt>
    <dgm:pt modelId="{5AAFDD13-0047-4E86-8A72-24641045C324}" type="pres">
      <dgm:prSet presAssocID="{C400F163-D220-4B68-9869-4967FCB6A0B4}" presName="dummy" presStyleCnt="0"/>
      <dgm:spPr/>
    </dgm:pt>
    <dgm:pt modelId="{A24C4EDD-6815-43BF-A6B1-9B944E517C94}" type="pres">
      <dgm:prSet presAssocID="{CF1C4070-C673-4E33-89E0-E568805A697F}" presName="sibTrans" presStyleLbl="sibTrans2D1" presStyleIdx="1" presStyleCnt="5"/>
      <dgm:spPr/>
    </dgm:pt>
    <dgm:pt modelId="{79047333-CCBA-483B-8232-952DADCEB95B}" type="pres">
      <dgm:prSet presAssocID="{A0DF2746-79C7-45A8-81D3-3090D7D5C350}" presName="node" presStyleLbl="node1" presStyleIdx="2" presStyleCnt="5" custScaleX="132407" custScaleY="128069">
        <dgm:presLayoutVars>
          <dgm:bulletEnabled val="1"/>
        </dgm:presLayoutVars>
      </dgm:prSet>
      <dgm:spPr/>
    </dgm:pt>
    <dgm:pt modelId="{D58C16F4-A646-4187-9C63-5F6B7E021C23}" type="pres">
      <dgm:prSet presAssocID="{A0DF2746-79C7-45A8-81D3-3090D7D5C350}" presName="dummy" presStyleCnt="0"/>
      <dgm:spPr/>
    </dgm:pt>
    <dgm:pt modelId="{6975D984-46B4-476B-B1E1-3E4694987A80}" type="pres">
      <dgm:prSet presAssocID="{3A26F75B-D3A3-4D63-841E-502A4C1169B9}" presName="sibTrans" presStyleLbl="sibTrans2D1" presStyleIdx="2" presStyleCnt="5"/>
      <dgm:spPr/>
    </dgm:pt>
    <dgm:pt modelId="{5D5B0C58-3DF4-4CBF-BC5E-89E95CC38EDE}" type="pres">
      <dgm:prSet presAssocID="{1D32538D-3083-48DE-8EEA-18937E1D4DBF}" presName="node" presStyleLbl="node1" presStyleIdx="3" presStyleCnt="5" custScaleX="132407" custScaleY="128069">
        <dgm:presLayoutVars>
          <dgm:bulletEnabled val="1"/>
        </dgm:presLayoutVars>
      </dgm:prSet>
      <dgm:spPr/>
    </dgm:pt>
    <dgm:pt modelId="{011DE3C9-C99A-450D-B484-19E2E05F5FD6}" type="pres">
      <dgm:prSet presAssocID="{1D32538D-3083-48DE-8EEA-18937E1D4DBF}" presName="dummy" presStyleCnt="0"/>
      <dgm:spPr/>
    </dgm:pt>
    <dgm:pt modelId="{3387642B-5D62-491E-8C43-7A886B4E862A}" type="pres">
      <dgm:prSet presAssocID="{2071A7ED-0395-4A49-828E-42B0018FB174}" presName="sibTrans" presStyleLbl="sibTrans2D1" presStyleIdx="3" presStyleCnt="5"/>
      <dgm:spPr/>
    </dgm:pt>
    <dgm:pt modelId="{53DF542C-7E52-4B15-B09F-3CA63FA5DC28}" type="pres">
      <dgm:prSet presAssocID="{918A10B2-C8B7-41FC-94A7-30553DCC730C}" presName="node" presStyleLbl="node1" presStyleIdx="4" presStyleCnt="5" custScaleX="132407" custScaleY="128069">
        <dgm:presLayoutVars>
          <dgm:bulletEnabled val="1"/>
        </dgm:presLayoutVars>
      </dgm:prSet>
      <dgm:spPr/>
    </dgm:pt>
    <dgm:pt modelId="{FB0FFDF2-4AC1-42B5-8657-ED0688D56877}" type="pres">
      <dgm:prSet presAssocID="{918A10B2-C8B7-41FC-94A7-30553DCC730C}" presName="dummy" presStyleCnt="0"/>
      <dgm:spPr/>
    </dgm:pt>
    <dgm:pt modelId="{EA5BFFCE-6015-4E8B-B4EF-53EB8D56F8FE}" type="pres">
      <dgm:prSet presAssocID="{BD4EA0D6-0EC3-42C3-9409-747A7C6F9883}" presName="sibTrans" presStyleLbl="sibTrans2D1" presStyleIdx="4" presStyleCnt="5"/>
      <dgm:spPr/>
    </dgm:pt>
  </dgm:ptLst>
  <dgm:cxnLst>
    <dgm:cxn modelId="{7C679812-6015-4FDD-83C6-8900C7A03600}" srcId="{DA94F35D-BCDC-4B05-ADE5-BC51E2784E59}" destId="{A0DF2746-79C7-45A8-81D3-3090D7D5C350}" srcOrd="2" destOrd="0" parTransId="{8C25AD87-ED22-40C7-9106-8C0DF4BE49E3}" sibTransId="{3A26F75B-D3A3-4D63-841E-502A4C1169B9}"/>
    <dgm:cxn modelId="{87B0B313-924C-485D-B5C4-3F55F98A7BAF}" type="presOf" srcId="{3A26F75B-D3A3-4D63-841E-502A4C1169B9}" destId="{6975D984-46B4-476B-B1E1-3E4694987A80}" srcOrd="0" destOrd="0" presId="urn:microsoft.com/office/officeart/2005/8/layout/radial6"/>
    <dgm:cxn modelId="{C462F02C-2220-4D27-ABEC-9E7DC5E50D65}" type="presOf" srcId="{AC1B4EFE-B85A-474E-81D3-D76BFF1CDDC3}" destId="{311E50BF-DC51-4CC3-80FD-B057B4A88B5E}" srcOrd="0" destOrd="0" presId="urn:microsoft.com/office/officeart/2005/8/layout/radial6"/>
    <dgm:cxn modelId="{DE99932E-E6F4-44EE-A4E0-9F5EE2B9502C}" type="presOf" srcId="{BD4EA0D6-0EC3-42C3-9409-747A7C6F9883}" destId="{EA5BFFCE-6015-4E8B-B4EF-53EB8D56F8FE}" srcOrd="0" destOrd="0" presId="urn:microsoft.com/office/officeart/2005/8/layout/radial6"/>
    <dgm:cxn modelId="{0BFAC23E-61AD-4CF7-A10C-C72DC8B95670}" srcId="{DA94F35D-BCDC-4B05-ADE5-BC51E2784E59}" destId="{C400F163-D220-4B68-9869-4967FCB6A0B4}" srcOrd="1" destOrd="0" parTransId="{73EC86DD-0A08-4961-8EDF-5F4770EDDF3C}" sibTransId="{CF1C4070-C673-4E33-89E0-E568805A697F}"/>
    <dgm:cxn modelId="{5CCDBA62-D373-499C-96F3-D381C6C2AA1E}" type="presOf" srcId="{C81AB5AB-0443-4854-A071-2901CEFE030B}" destId="{A5608535-C9BB-4753-B3FA-602492BDAD11}" srcOrd="0" destOrd="0" presId="urn:microsoft.com/office/officeart/2005/8/layout/radial6"/>
    <dgm:cxn modelId="{C538EB8F-395E-4469-854E-FCCD0BA6FF58}" type="presOf" srcId="{DA94F35D-BCDC-4B05-ADE5-BC51E2784E59}" destId="{294CCF0B-9FA0-4BA1-9279-894F84C0D0E1}" srcOrd="0" destOrd="0" presId="urn:microsoft.com/office/officeart/2005/8/layout/radial6"/>
    <dgm:cxn modelId="{340D2E9B-0A71-4B20-A18A-3DE8E0F42F47}" type="presOf" srcId="{2071A7ED-0395-4A49-828E-42B0018FB174}" destId="{3387642B-5D62-491E-8C43-7A886B4E862A}" srcOrd="0" destOrd="0" presId="urn:microsoft.com/office/officeart/2005/8/layout/radial6"/>
    <dgm:cxn modelId="{3A84C9A9-91DD-479A-8E79-2739B2914D45}" type="presOf" srcId="{A0DF2746-79C7-45A8-81D3-3090D7D5C350}" destId="{79047333-CCBA-483B-8232-952DADCEB95B}" srcOrd="0" destOrd="0" presId="urn:microsoft.com/office/officeart/2005/8/layout/radial6"/>
    <dgm:cxn modelId="{56A722AD-1E51-43DF-8EC2-97183910B32A}" srcId="{DA94F35D-BCDC-4B05-ADE5-BC51E2784E59}" destId="{1D32538D-3083-48DE-8EEA-18937E1D4DBF}" srcOrd="3" destOrd="0" parTransId="{2A7DB6E2-C421-4D06-AA6A-5D30FE784F2B}" sibTransId="{2071A7ED-0395-4A49-828E-42B0018FB174}"/>
    <dgm:cxn modelId="{1DED48B2-AD18-4904-84B5-60678C872F3C}" srcId="{AC1B4EFE-B85A-474E-81D3-D76BFF1CDDC3}" destId="{DA94F35D-BCDC-4B05-ADE5-BC51E2784E59}" srcOrd="0" destOrd="0" parTransId="{C08F9C9A-6459-41EC-99D0-FDF669BE5F7C}" sibTransId="{9F998031-F9AF-4CEE-B5C2-D473222384C6}"/>
    <dgm:cxn modelId="{EB120EB3-E206-48CA-88F5-4F6495EDB69A}" type="presOf" srcId="{C400F163-D220-4B68-9869-4967FCB6A0B4}" destId="{809E60D4-BBAC-49F6-B3B4-A89F96F4EF81}" srcOrd="0" destOrd="0" presId="urn:microsoft.com/office/officeart/2005/8/layout/radial6"/>
    <dgm:cxn modelId="{112351BB-F413-49F4-9BBF-DDA68BF5D3B4}" srcId="{DA94F35D-BCDC-4B05-ADE5-BC51E2784E59}" destId="{918A10B2-C8B7-41FC-94A7-30553DCC730C}" srcOrd="4" destOrd="0" parTransId="{6AB52952-FDA5-4CFD-9F96-F593D244E6A2}" sibTransId="{BD4EA0D6-0EC3-42C3-9409-747A7C6F9883}"/>
    <dgm:cxn modelId="{2534E5D5-AED8-4EAE-9781-CD0A1B94A600}" type="presOf" srcId="{918A10B2-C8B7-41FC-94A7-30553DCC730C}" destId="{53DF542C-7E52-4B15-B09F-3CA63FA5DC28}" srcOrd="0" destOrd="0" presId="urn:microsoft.com/office/officeart/2005/8/layout/radial6"/>
    <dgm:cxn modelId="{DC698CE4-B657-42A0-878F-150635DC0904}" srcId="{DA94F35D-BCDC-4B05-ADE5-BC51E2784E59}" destId="{D9F950BB-FDCC-4D85-9F79-E779F541A7AF}" srcOrd="0" destOrd="0" parTransId="{814D93A4-ACDD-4FF9-B405-07F63BC45DC4}" sibTransId="{C81AB5AB-0443-4854-A071-2901CEFE030B}"/>
    <dgm:cxn modelId="{6C294FF5-754E-4AD2-AA09-AB1C0AD46CF9}" type="presOf" srcId="{D9F950BB-FDCC-4D85-9F79-E779F541A7AF}" destId="{1DABA0EE-F189-4EA9-84FF-F08558422965}" srcOrd="0" destOrd="0" presId="urn:microsoft.com/office/officeart/2005/8/layout/radial6"/>
    <dgm:cxn modelId="{A5E2F7FD-CC82-4418-A047-B094ACFEA6CF}" type="presOf" srcId="{CF1C4070-C673-4E33-89E0-E568805A697F}" destId="{A24C4EDD-6815-43BF-A6B1-9B944E517C94}" srcOrd="0" destOrd="0" presId="urn:microsoft.com/office/officeart/2005/8/layout/radial6"/>
    <dgm:cxn modelId="{1460E2FE-D392-4509-80FC-3FCFBA419DDE}" type="presOf" srcId="{1D32538D-3083-48DE-8EEA-18937E1D4DBF}" destId="{5D5B0C58-3DF4-4CBF-BC5E-89E95CC38EDE}" srcOrd="0" destOrd="0" presId="urn:microsoft.com/office/officeart/2005/8/layout/radial6"/>
    <dgm:cxn modelId="{489103AF-7F25-4302-8669-8FA6F1C941CF}" type="presParOf" srcId="{311E50BF-DC51-4CC3-80FD-B057B4A88B5E}" destId="{294CCF0B-9FA0-4BA1-9279-894F84C0D0E1}" srcOrd="0" destOrd="0" presId="urn:microsoft.com/office/officeart/2005/8/layout/radial6"/>
    <dgm:cxn modelId="{9573985C-53E3-4701-884B-D7896B42CD79}" type="presParOf" srcId="{311E50BF-DC51-4CC3-80FD-B057B4A88B5E}" destId="{1DABA0EE-F189-4EA9-84FF-F08558422965}" srcOrd="1" destOrd="0" presId="urn:microsoft.com/office/officeart/2005/8/layout/radial6"/>
    <dgm:cxn modelId="{C1BF6695-ECAC-4013-9BC4-E3A707D4D4A5}" type="presParOf" srcId="{311E50BF-DC51-4CC3-80FD-B057B4A88B5E}" destId="{48A681C2-6080-41E0-96FD-916D32B4EB00}" srcOrd="2" destOrd="0" presId="urn:microsoft.com/office/officeart/2005/8/layout/radial6"/>
    <dgm:cxn modelId="{17296439-38E1-4797-8192-D79AADFC8396}" type="presParOf" srcId="{311E50BF-DC51-4CC3-80FD-B057B4A88B5E}" destId="{A5608535-C9BB-4753-B3FA-602492BDAD11}" srcOrd="3" destOrd="0" presId="urn:microsoft.com/office/officeart/2005/8/layout/radial6"/>
    <dgm:cxn modelId="{60A6288F-DAF4-4282-A5DF-19078058E736}" type="presParOf" srcId="{311E50BF-DC51-4CC3-80FD-B057B4A88B5E}" destId="{809E60D4-BBAC-49F6-B3B4-A89F96F4EF81}" srcOrd="4" destOrd="0" presId="urn:microsoft.com/office/officeart/2005/8/layout/radial6"/>
    <dgm:cxn modelId="{D45C4718-1E93-4432-BE51-68AF753BECAF}" type="presParOf" srcId="{311E50BF-DC51-4CC3-80FD-B057B4A88B5E}" destId="{5AAFDD13-0047-4E86-8A72-24641045C324}" srcOrd="5" destOrd="0" presId="urn:microsoft.com/office/officeart/2005/8/layout/radial6"/>
    <dgm:cxn modelId="{D62C646A-ABBC-4770-BED0-A54488914BE0}" type="presParOf" srcId="{311E50BF-DC51-4CC3-80FD-B057B4A88B5E}" destId="{A24C4EDD-6815-43BF-A6B1-9B944E517C94}" srcOrd="6" destOrd="0" presId="urn:microsoft.com/office/officeart/2005/8/layout/radial6"/>
    <dgm:cxn modelId="{A962832E-BB03-4205-A966-D0FBB8BF5824}" type="presParOf" srcId="{311E50BF-DC51-4CC3-80FD-B057B4A88B5E}" destId="{79047333-CCBA-483B-8232-952DADCEB95B}" srcOrd="7" destOrd="0" presId="urn:microsoft.com/office/officeart/2005/8/layout/radial6"/>
    <dgm:cxn modelId="{B1A13DB0-EC24-4C30-A0FD-329BB1E881B2}" type="presParOf" srcId="{311E50BF-DC51-4CC3-80FD-B057B4A88B5E}" destId="{D58C16F4-A646-4187-9C63-5F6B7E021C23}" srcOrd="8" destOrd="0" presId="urn:microsoft.com/office/officeart/2005/8/layout/radial6"/>
    <dgm:cxn modelId="{65558904-C2FE-4D7F-BE1A-6E7E12B1889E}" type="presParOf" srcId="{311E50BF-DC51-4CC3-80FD-B057B4A88B5E}" destId="{6975D984-46B4-476B-B1E1-3E4694987A80}" srcOrd="9" destOrd="0" presId="urn:microsoft.com/office/officeart/2005/8/layout/radial6"/>
    <dgm:cxn modelId="{D5BC28C0-1349-4445-96A8-DE5A5B04D1C3}" type="presParOf" srcId="{311E50BF-DC51-4CC3-80FD-B057B4A88B5E}" destId="{5D5B0C58-3DF4-4CBF-BC5E-89E95CC38EDE}" srcOrd="10" destOrd="0" presId="urn:microsoft.com/office/officeart/2005/8/layout/radial6"/>
    <dgm:cxn modelId="{E1650D1D-1E9A-49CD-8146-FF358E376BD7}" type="presParOf" srcId="{311E50BF-DC51-4CC3-80FD-B057B4A88B5E}" destId="{011DE3C9-C99A-450D-B484-19E2E05F5FD6}" srcOrd="11" destOrd="0" presId="urn:microsoft.com/office/officeart/2005/8/layout/radial6"/>
    <dgm:cxn modelId="{D07465A2-99A2-4E53-97AD-72F2A999FA2D}" type="presParOf" srcId="{311E50BF-DC51-4CC3-80FD-B057B4A88B5E}" destId="{3387642B-5D62-491E-8C43-7A886B4E862A}" srcOrd="12" destOrd="0" presId="urn:microsoft.com/office/officeart/2005/8/layout/radial6"/>
    <dgm:cxn modelId="{ABE87CDA-6B85-41E0-A9FA-B02B77D5FA52}" type="presParOf" srcId="{311E50BF-DC51-4CC3-80FD-B057B4A88B5E}" destId="{53DF542C-7E52-4B15-B09F-3CA63FA5DC28}" srcOrd="13" destOrd="0" presId="urn:microsoft.com/office/officeart/2005/8/layout/radial6"/>
    <dgm:cxn modelId="{997BC91C-0187-4EF8-9E9B-F128EF65AFB8}" type="presParOf" srcId="{311E50BF-DC51-4CC3-80FD-B057B4A88B5E}" destId="{FB0FFDF2-4AC1-42B5-8657-ED0688D56877}" srcOrd="14" destOrd="0" presId="urn:microsoft.com/office/officeart/2005/8/layout/radial6"/>
    <dgm:cxn modelId="{FD1FE78B-E5BC-430B-8E73-0325314845E7}" type="presParOf" srcId="{311E50BF-DC51-4CC3-80FD-B057B4A88B5E}" destId="{EA5BFFCE-6015-4E8B-B4EF-53EB8D56F8FE}" srcOrd="15" destOrd="0" presId="urn:microsoft.com/office/officeart/2005/8/layout/radial6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4E02009-6337-408D-BC6D-D427130F953F}" type="doc">
      <dgm:prSet loTypeId="urn:microsoft.com/office/officeart/2008/layout/PictureStrips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DF4714D-F603-4F85-AC2E-CA490D3945C5}">
      <dgm:prSet phldrT="[Text]" custT="1"/>
      <dgm:spPr/>
      <dgm:t>
        <a:bodyPr/>
        <a:lstStyle/>
        <a:p>
          <a:r>
            <a:rPr lang="en-US" sz="1900" dirty="0">
              <a:latin typeface="Garamond" panose="02020404030301010803" pitchFamily="18" charset="0"/>
            </a:rPr>
            <a:t>Sharon Liszanckie</a:t>
          </a:r>
        </a:p>
        <a:p>
          <a:r>
            <a:rPr lang="en-US" sz="1900" i="1" dirty="0">
              <a:latin typeface="Garamond" panose="02020404030301010803" pitchFamily="18" charset="0"/>
            </a:rPr>
            <a:t>Executive Director</a:t>
          </a:r>
        </a:p>
      </dgm:t>
    </dgm:pt>
    <dgm:pt modelId="{7284D794-2ABE-4547-B41F-DC4E6EA99B43}" type="parTrans" cxnId="{30BA7D31-55EE-460F-B4C4-21091810E7C2}">
      <dgm:prSet/>
      <dgm:spPr/>
      <dgm:t>
        <a:bodyPr/>
        <a:lstStyle/>
        <a:p>
          <a:endParaRPr lang="en-US" sz="1900">
            <a:latin typeface="Garamond" panose="02020404030301010803" pitchFamily="18" charset="0"/>
          </a:endParaRPr>
        </a:p>
      </dgm:t>
    </dgm:pt>
    <dgm:pt modelId="{575BF792-48C0-46AD-81E6-FB2EEC47E2B7}" type="sibTrans" cxnId="{30BA7D31-55EE-460F-B4C4-21091810E7C2}">
      <dgm:prSet/>
      <dgm:spPr/>
      <dgm:t>
        <a:bodyPr/>
        <a:lstStyle/>
        <a:p>
          <a:endParaRPr lang="en-US" sz="1900">
            <a:latin typeface="Garamond" panose="02020404030301010803" pitchFamily="18" charset="0"/>
          </a:endParaRPr>
        </a:p>
      </dgm:t>
    </dgm:pt>
    <dgm:pt modelId="{3A71D8FD-BBE7-4213-8C5D-2E2574669373}">
      <dgm:prSet phldrT="[Text]" custT="1"/>
      <dgm:spPr/>
      <dgm:t>
        <a:bodyPr/>
        <a:lstStyle/>
        <a:p>
          <a:r>
            <a:rPr lang="en-US" sz="1900" dirty="0">
              <a:latin typeface="Garamond" panose="02020404030301010803" pitchFamily="18" charset="0"/>
            </a:rPr>
            <a:t>Graham VanderZanden</a:t>
          </a:r>
        </a:p>
        <a:p>
          <a:r>
            <a:rPr lang="en-US" sz="1700" i="1" dirty="0">
              <a:latin typeface="Garamond" panose="02020404030301010803" pitchFamily="18" charset="0"/>
            </a:rPr>
            <a:t>Director of Strategic Projects</a:t>
          </a:r>
        </a:p>
      </dgm:t>
    </dgm:pt>
    <dgm:pt modelId="{86079F95-991F-4335-8BF0-B487F614E74B}" type="parTrans" cxnId="{0654ECA5-9215-4D8A-8793-DD56CA8D6BCA}">
      <dgm:prSet/>
      <dgm:spPr/>
      <dgm:t>
        <a:bodyPr/>
        <a:lstStyle/>
        <a:p>
          <a:endParaRPr lang="en-US" sz="1900">
            <a:latin typeface="Garamond" panose="02020404030301010803" pitchFamily="18" charset="0"/>
          </a:endParaRPr>
        </a:p>
      </dgm:t>
    </dgm:pt>
    <dgm:pt modelId="{D45172A6-2A2C-4460-9DC7-25D94C327D5F}" type="sibTrans" cxnId="{0654ECA5-9215-4D8A-8793-DD56CA8D6BCA}">
      <dgm:prSet/>
      <dgm:spPr/>
      <dgm:t>
        <a:bodyPr/>
        <a:lstStyle/>
        <a:p>
          <a:endParaRPr lang="en-US" sz="1900">
            <a:latin typeface="Garamond" panose="02020404030301010803" pitchFamily="18" charset="0"/>
          </a:endParaRPr>
        </a:p>
      </dgm:t>
    </dgm:pt>
    <dgm:pt modelId="{9761780D-C285-40B8-95C8-04A82228C2A5}">
      <dgm:prSet phldrT="[Text]" custT="1"/>
      <dgm:spPr/>
      <dgm:t>
        <a:bodyPr/>
        <a:lstStyle/>
        <a:p>
          <a:r>
            <a:rPr lang="en-US" sz="1900" dirty="0">
              <a:latin typeface="Garamond" panose="02020404030301010803" pitchFamily="18" charset="0"/>
            </a:rPr>
            <a:t>Katie Bernier</a:t>
          </a:r>
        </a:p>
        <a:p>
          <a:r>
            <a:rPr lang="en-US" sz="1900" i="1" dirty="0">
              <a:latin typeface="Garamond" panose="02020404030301010803" pitchFamily="18" charset="0"/>
            </a:rPr>
            <a:t>Data Analyst</a:t>
          </a:r>
        </a:p>
      </dgm:t>
    </dgm:pt>
    <dgm:pt modelId="{0C687AE8-C636-4528-807D-0D0777E26DA3}" type="parTrans" cxnId="{48FD2907-7D8D-4615-B9AD-EE023998C22B}">
      <dgm:prSet/>
      <dgm:spPr/>
      <dgm:t>
        <a:bodyPr/>
        <a:lstStyle/>
        <a:p>
          <a:endParaRPr lang="en-US" sz="1900"/>
        </a:p>
      </dgm:t>
    </dgm:pt>
    <dgm:pt modelId="{80EE3C98-5012-4A3B-B461-2DBFE856D931}" type="sibTrans" cxnId="{48FD2907-7D8D-4615-B9AD-EE023998C22B}">
      <dgm:prSet/>
      <dgm:spPr/>
      <dgm:t>
        <a:bodyPr/>
        <a:lstStyle/>
        <a:p>
          <a:endParaRPr lang="en-US" sz="1900"/>
        </a:p>
      </dgm:t>
    </dgm:pt>
    <dgm:pt modelId="{FC3A1E29-B0ED-40A9-90E6-3F3A5FDBBD7E}" type="pres">
      <dgm:prSet presAssocID="{D4E02009-6337-408D-BC6D-D427130F953F}" presName="Name0" presStyleCnt="0">
        <dgm:presLayoutVars>
          <dgm:dir/>
          <dgm:resizeHandles val="exact"/>
        </dgm:presLayoutVars>
      </dgm:prSet>
      <dgm:spPr/>
    </dgm:pt>
    <dgm:pt modelId="{5F2D0C3F-837A-4018-B771-3BF86D18F635}" type="pres">
      <dgm:prSet presAssocID="{3DF4714D-F603-4F85-AC2E-CA490D3945C5}" presName="composite" presStyleCnt="0"/>
      <dgm:spPr/>
    </dgm:pt>
    <dgm:pt modelId="{14D657FA-AB02-45D7-B046-49D24DE35B11}" type="pres">
      <dgm:prSet presAssocID="{3DF4714D-F603-4F85-AC2E-CA490D3945C5}" presName="rect1" presStyleLbl="trAlignAcc1" presStyleIdx="0" presStyleCnt="3" custScaleX="89935" custScaleY="83510">
        <dgm:presLayoutVars>
          <dgm:bulletEnabled val="1"/>
        </dgm:presLayoutVars>
      </dgm:prSet>
      <dgm:spPr/>
    </dgm:pt>
    <dgm:pt modelId="{8249273A-AEF0-4194-B823-709B8640E15B}" type="pres">
      <dgm:prSet presAssocID="{3DF4714D-F603-4F85-AC2E-CA490D3945C5}" presName="rect2" presStyleLbl="fgImgPlace1" presStyleIdx="0" presStyleCnt="3" custLinFactNeighborX="18438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sharon&#10;"/>
        </a:ext>
      </dgm:extLst>
    </dgm:pt>
    <dgm:pt modelId="{7F5DF768-F5CF-4932-9E7E-F1F9A9FADA6A}" type="pres">
      <dgm:prSet presAssocID="{575BF792-48C0-46AD-81E6-FB2EEC47E2B7}" presName="sibTrans" presStyleCnt="0"/>
      <dgm:spPr/>
    </dgm:pt>
    <dgm:pt modelId="{161115E3-5A72-4BE0-B1AB-35C0F39ECEDF}" type="pres">
      <dgm:prSet presAssocID="{3A71D8FD-BBE7-4213-8C5D-2E2574669373}" presName="composite" presStyleCnt="0"/>
      <dgm:spPr/>
    </dgm:pt>
    <dgm:pt modelId="{22CE4D1E-C220-45F8-9FBB-644C0EFC41CD}" type="pres">
      <dgm:prSet presAssocID="{3A71D8FD-BBE7-4213-8C5D-2E2574669373}" presName="rect1" presStyleLbl="trAlignAcc1" presStyleIdx="1" presStyleCnt="3" custScaleX="86675" custScaleY="83510">
        <dgm:presLayoutVars>
          <dgm:bulletEnabled val="1"/>
        </dgm:presLayoutVars>
      </dgm:prSet>
      <dgm:spPr/>
    </dgm:pt>
    <dgm:pt modelId="{492C3A2B-92C7-49BC-81A0-2B4685E08BB4}" type="pres">
      <dgm:prSet presAssocID="{3A71D8FD-BBE7-4213-8C5D-2E2574669373}" presName="rect2" presStyleLbl="fgImgPlace1" presStyleIdx="1" presStyleCnt="3" custLinFactNeighborX="1471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graham"/>
        </a:ext>
      </dgm:extLst>
    </dgm:pt>
    <dgm:pt modelId="{D84D5C23-2711-4E9B-A403-ED1E4824DD88}" type="pres">
      <dgm:prSet presAssocID="{D45172A6-2A2C-4460-9DC7-25D94C327D5F}" presName="sibTrans" presStyleCnt="0"/>
      <dgm:spPr/>
    </dgm:pt>
    <dgm:pt modelId="{1BF6292C-162C-4521-941C-C5FCDF73038A}" type="pres">
      <dgm:prSet presAssocID="{9761780D-C285-40B8-95C8-04A82228C2A5}" presName="composite" presStyleCnt="0"/>
      <dgm:spPr/>
    </dgm:pt>
    <dgm:pt modelId="{AAA39488-7145-40E7-8C9C-136573C272DD}" type="pres">
      <dgm:prSet presAssocID="{9761780D-C285-40B8-95C8-04A82228C2A5}" presName="rect1" presStyleLbl="trAlignAcc1" presStyleIdx="2" presStyleCnt="3" custScaleX="86675" custScaleY="83510">
        <dgm:presLayoutVars>
          <dgm:bulletEnabled val="1"/>
        </dgm:presLayoutVars>
      </dgm:prSet>
      <dgm:spPr/>
    </dgm:pt>
    <dgm:pt modelId="{52E6E0F8-21EA-4352-91A6-DCEB841A6AA3}" type="pres">
      <dgm:prSet presAssocID="{9761780D-C285-40B8-95C8-04A82228C2A5}" presName="rect2" presStyleLbl="fgImgPlace1" presStyleIdx="2" presStyleCnt="3" custLinFactNeighborX="14712" custLinFactNeighborY="-84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kate"/>
        </a:ext>
      </dgm:extLst>
    </dgm:pt>
  </dgm:ptLst>
  <dgm:cxnLst>
    <dgm:cxn modelId="{48FD2907-7D8D-4615-B9AD-EE023998C22B}" srcId="{D4E02009-6337-408D-BC6D-D427130F953F}" destId="{9761780D-C285-40B8-95C8-04A82228C2A5}" srcOrd="2" destOrd="0" parTransId="{0C687AE8-C636-4528-807D-0D0777E26DA3}" sibTransId="{80EE3C98-5012-4A3B-B461-2DBFE856D931}"/>
    <dgm:cxn modelId="{174F4B17-C70F-47A1-8F3C-ED25E62342BA}" type="presOf" srcId="{9761780D-C285-40B8-95C8-04A82228C2A5}" destId="{AAA39488-7145-40E7-8C9C-136573C272DD}" srcOrd="0" destOrd="0" presId="urn:microsoft.com/office/officeart/2008/layout/PictureStrips"/>
    <dgm:cxn modelId="{30BA7D31-55EE-460F-B4C4-21091810E7C2}" srcId="{D4E02009-6337-408D-BC6D-D427130F953F}" destId="{3DF4714D-F603-4F85-AC2E-CA490D3945C5}" srcOrd="0" destOrd="0" parTransId="{7284D794-2ABE-4547-B41F-DC4E6EA99B43}" sibTransId="{575BF792-48C0-46AD-81E6-FB2EEC47E2B7}"/>
    <dgm:cxn modelId="{A5035340-A5B4-4C97-B255-16882D3CA28D}" type="presOf" srcId="{3A71D8FD-BBE7-4213-8C5D-2E2574669373}" destId="{22CE4D1E-C220-45F8-9FBB-644C0EFC41CD}" srcOrd="0" destOrd="0" presId="urn:microsoft.com/office/officeart/2008/layout/PictureStrips"/>
    <dgm:cxn modelId="{0654ECA5-9215-4D8A-8793-DD56CA8D6BCA}" srcId="{D4E02009-6337-408D-BC6D-D427130F953F}" destId="{3A71D8FD-BBE7-4213-8C5D-2E2574669373}" srcOrd="1" destOrd="0" parTransId="{86079F95-991F-4335-8BF0-B487F614E74B}" sibTransId="{D45172A6-2A2C-4460-9DC7-25D94C327D5F}"/>
    <dgm:cxn modelId="{E155B8E9-0421-4635-9339-BCB22F626755}" type="presOf" srcId="{3DF4714D-F603-4F85-AC2E-CA490D3945C5}" destId="{14D657FA-AB02-45D7-B046-49D24DE35B11}" srcOrd="0" destOrd="0" presId="urn:microsoft.com/office/officeart/2008/layout/PictureStrips"/>
    <dgm:cxn modelId="{10FBA4FD-708D-49AE-B659-842EFBE47706}" type="presOf" srcId="{D4E02009-6337-408D-BC6D-D427130F953F}" destId="{FC3A1E29-B0ED-40A9-90E6-3F3A5FDBBD7E}" srcOrd="0" destOrd="0" presId="urn:microsoft.com/office/officeart/2008/layout/PictureStrips"/>
    <dgm:cxn modelId="{98C2AB64-FC3D-4CA9-88C4-8D0BEA30F4E6}" type="presParOf" srcId="{FC3A1E29-B0ED-40A9-90E6-3F3A5FDBBD7E}" destId="{5F2D0C3F-837A-4018-B771-3BF86D18F635}" srcOrd="0" destOrd="0" presId="urn:microsoft.com/office/officeart/2008/layout/PictureStrips"/>
    <dgm:cxn modelId="{7E076DA8-E04E-402E-9CFD-80DED1D089B8}" type="presParOf" srcId="{5F2D0C3F-837A-4018-B771-3BF86D18F635}" destId="{14D657FA-AB02-45D7-B046-49D24DE35B11}" srcOrd="0" destOrd="0" presId="urn:microsoft.com/office/officeart/2008/layout/PictureStrips"/>
    <dgm:cxn modelId="{A24DCF28-5A5C-43A2-8953-242B7B608623}" type="presParOf" srcId="{5F2D0C3F-837A-4018-B771-3BF86D18F635}" destId="{8249273A-AEF0-4194-B823-709B8640E15B}" srcOrd="1" destOrd="0" presId="urn:microsoft.com/office/officeart/2008/layout/PictureStrips"/>
    <dgm:cxn modelId="{70601959-2280-4C2A-AD30-4BA4A2E19AB3}" type="presParOf" srcId="{FC3A1E29-B0ED-40A9-90E6-3F3A5FDBBD7E}" destId="{7F5DF768-F5CF-4932-9E7E-F1F9A9FADA6A}" srcOrd="1" destOrd="0" presId="urn:microsoft.com/office/officeart/2008/layout/PictureStrips"/>
    <dgm:cxn modelId="{2AAA7F0C-5D29-4540-A221-E9889A5B392D}" type="presParOf" srcId="{FC3A1E29-B0ED-40A9-90E6-3F3A5FDBBD7E}" destId="{161115E3-5A72-4BE0-B1AB-35C0F39ECEDF}" srcOrd="2" destOrd="0" presId="urn:microsoft.com/office/officeart/2008/layout/PictureStrips"/>
    <dgm:cxn modelId="{9C92D30F-2DC4-428D-80EB-ACB11748114C}" type="presParOf" srcId="{161115E3-5A72-4BE0-B1AB-35C0F39ECEDF}" destId="{22CE4D1E-C220-45F8-9FBB-644C0EFC41CD}" srcOrd="0" destOrd="0" presId="urn:microsoft.com/office/officeart/2008/layout/PictureStrips"/>
    <dgm:cxn modelId="{1F66B047-D48C-4ED0-AAF8-5D9FACC5375F}" type="presParOf" srcId="{161115E3-5A72-4BE0-B1AB-35C0F39ECEDF}" destId="{492C3A2B-92C7-49BC-81A0-2B4685E08BB4}" srcOrd="1" destOrd="0" presId="urn:microsoft.com/office/officeart/2008/layout/PictureStrips"/>
    <dgm:cxn modelId="{6EFDB5A8-19D7-4C7A-8AC7-46755A9B390E}" type="presParOf" srcId="{FC3A1E29-B0ED-40A9-90E6-3F3A5FDBBD7E}" destId="{D84D5C23-2711-4E9B-A403-ED1E4824DD88}" srcOrd="3" destOrd="0" presId="urn:microsoft.com/office/officeart/2008/layout/PictureStrips"/>
    <dgm:cxn modelId="{DEC87549-1CF4-4B03-8A5A-AEF6F614BFBE}" type="presParOf" srcId="{FC3A1E29-B0ED-40A9-90E6-3F3A5FDBBD7E}" destId="{1BF6292C-162C-4521-941C-C5FCDF73038A}" srcOrd="4" destOrd="0" presId="urn:microsoft.com/office/officeart/2008/layout/PictureStrips"/>
    <dgm:cxn modelId="{14CA41D5-93AA-47B6-A341-4EDCB062084D}" type="presParOf" srcId="{1BF6292C-162C-4521-941C-C5FCDF73038A}" destId="{AAA39488-7145-40E7-8C9C-136573C272DD}" srcOrd="0" destOrd="0" presId="urn:microsoft.com/office/officeart/2008/layout/PictureStrips"/>
    <dgm:cxn modelId="{8FE66A3A-6011-4068-8BDE-935E9C8E04D1}" type="presParOf" srcId="{1BF6292C-162C-4521-941C-C5FCDF73038A}" destId="{52E6E0F8-21EA-4352-91A6-DCEB841A6AA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4E02009-6337-408D-BC6D-D427130F953F}" type="doc">
      <dgm:prSet loTypeId="urn:microsoft.com/office/officeart/2008/layout/PictureStrips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DF4714D-F603-4F85-AC2E-CA490D3945C5}">
      <dgm:prSet phldrT="[Text]"/>
      <dgm:spPr/>
      <dgm:t>
        <a:bodyPr/>
        <a:lstStyle/>
        <a:p>
          <a:r>
            <a:rPr lang="en-US" dirty="0">
              <a:latin typeface="Garamond" panose="02020404030301010803" pitchFamily="18" charset="0"/>
            </a:rPr>
            <a:t>Mindy Wright</a:t>
          </a:r>
        </a:p>
        <a:p>
          <a:r>
            <a:rPr lang="en-US" i="1" dirty="0">
              <a:latin typeface="Garamond" panose="02020404030301010803" pitchFamily="18" charset="0"/>
            </a:rPr>
            <a:t>Director of the Persistence Project</a:t>
          </a:r>
        </a:p>
      </dgm:t>
    </dgm:pt>
    <dgm:pt modelId="{7284D794-2ABE-4547-B41F-DC4E6EA99B43}" type="parTrans" cxnId="{30BA7D31-55EE-460F-B4C4-21091810E7C2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575BF792-48C0-46AD-81E6-FB2EEC47E2B7}" type="sibTrans" cxnId="{30BA7D31-55EE-460F-B4C4-21091810E7C2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3A71D8FD-BBE7-4213-8C5D-2E2574669373}">
      <dgm:prSet phldrT="[Text]"/>
      <dgm:spPr/>
      <dgm:t>
        <a:bodyPr/>
        <a:lstStyle/>
        <a:p>
          <a:r>
            <a:rPr lang="en-US" dirty="0">
              <a:latin typeface="Garamond" panose="02020404030301010803" pitchFamily="18" charset="0"/>
            </a:rPr>
            <a:t>Carolina Brito</a:t>
          </a:r>
        </a:p>
        <a:p>
          <a:r>
            <a:rPr lang="en-US" i="1" dirty="0">
              <a:latin typeface="Garamond" panose="02020404030301010803" pitchFamily="18" charset="0"/>
            </a:rPr>
            <a:t>HS Principal</a:t>
          </a:r>
        </a:p>
      </dgm:t>
    </dgm:pt>
    <dgm:pt modelId="{86079F95-991F-4335-8BF0-B487F614E74B}" type="parTrans" cxnId="{0654ECA5-9215-4D8A-8793-DD56CA8D6BCA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D45172A6-2A2C-4460-9DC7-25D94C327D5F}" type="sibTrans" cxnId="{0654ECA5-9215-4D8A-8793-DD56CA8D6BCA}">
      <dgm:prSet/>
      <dgm:spPr/>
      <dgm:t>
        <a:bodyPr/>
        <a:lstStyle/>
        <a:p>
          <a:endParaRPr lang="en-US">
            <a:latin typeface="Garamond" panose="02020404030301010803" pitchFamily="18" charset="0"/>
          </a:endParaRPr>
        </a:p>
      </dgm:t>
    </dgm:pt>
    <dgm:pt modelId="{9761780D-C285-40B8-95C8-04A82228C2A5}">
      <dgm:prSet phldrT="[Text]"/>
      <dgm:spPr>
        <a:solidFill>
          <a:schemeClr val="bg1">
            <a:alpha val="40000"/>
          </a:schemeClr>
        </a:solidFill>
      </dgm:spPr>
      <dgm:t>
        <a:bodyPr/>
        <a:lstStyle/>
        <a:p>
          <a:r>
            <a:rPr lang="en-US" dirty="0">
              <a:latin typeface="Garamond" panose="02020404030301010803" pitchFamily="18" charset="0"/>
            </a:rPr>
            <a:t>Cristina Lopez</a:t>
          </a:r>
        </a:p>
        <a:p>
          <a:r>
            <a:rPr lang="en-US" i="1" dirty="0">
              <a:latin typeface="Garamond" panose="02020404030301010803" pitchFamily="18" charset="0"/>
            </a:rPr>
            <a:t>MS Principal</a:t>
          </a:r>
        </a:p>
      </dgm:t>
    </dgm:pt>
    <dgm:pt modelId="{0C687AE8-C636-4528-807D-0D0777E26DA3}" type="parTrans" cxnId="{48FD2907-7D8D-4615-B9AD-EE023998C22B}">
      <dgm:prSet/>
      <dgm:spPr/>
      <dgm:t>
        <a:bodyPr/>
        <a:lstStyle/>
        <a:p>
          <a:endParaRPr lang="en-US"/>
        </a:p>
      </dgm:t>
    </dgm:pt>
    <dgm:pt modelId="{80EE3C98-5012-4A3B-B461-2DBFE856D931}" type="sibTrans" cxnId="{48FD2907-7D8D-4615-B9AD-EE023998C22B}">
      <dgm:prSet/>
      <dgm:spPr/>
      <dgm:t>
        <a:bodyPr/>
        <a:lstStyle/>
        <a:p>
          <a:endParaRPr lang="en-US"/>
        </a:p>
      </dgm:t>
    </dgm:pt>
    <dgm:pt modelId="{C21AF026-7488-4EC6-878C-B8100A0EA920}">
      <dgm:prSet/>
      <dgm:spPr/>
      <dgm:t>
        <a:bodyPr/>
        <a:lstStyle/>
        <a:p>
          <a:r>
            <a:rPr lang="en-US" dirty="0">
              <a:latin typeface="Garamond" panose="02020404030301010803" pitchFamily="18" charset="0"/>
            </a:rPr>
            <a:t>Eileen Callahan</a:t>
          </a:r>
        </a:p>
        <a:p>
          <a:r>
            <a:rPr lang="en-US" i="1" dirty="0">
              <a:latin typeface="Garamond" panose="02020404030301010803" pitchFamily="18" charset="0"/>
            </a:rPr>
            <a:t>Chief Academic Officer</a:t>
          </a:r>
        </a:p>
      </dgm:t>
    </dgm:pt>
    <dgm:pt modelId="{2A9F1D9B-1442-449C-8DEB-F767596FCF33}" type="parTrans" cxnId="{78702368-6049-4888-A130-8C11E9417959}">
      <dgm:prSet/>
      <dgm:spPr/>
      <dgm:t>
        <a:bodyPr/>
        <a:lstStyle/>
        <a:p>
          <a:endParaRPr lang="en-US"/>
        </a:p>
      </dgm:t>
    </dgm:pt>
    <dgm:pt modelId="{D704F571-1C68-4C0A-A065-9D4362DDA4F6}" type="sibTrans" cxnId="{78702368-6049-4888-A130-8C11E9417959}">
      <dgm:prSet/>
      <dgm:spPr/>
      <dgm:t>
        <a:bodyPr/>
        <a:lstStyle/>
        <a:p>
          <a:endParaRPr lang="en-US"/>
        </a:p>
      </dgm:t>
    </dgm:pt>
    <dgm:pt modelId="{FC3A1E29-B0ED-40A9-90E6-3F3A5FDBBD7E}" type="pres">
      <dgm:prSet presAssocID="{D4E02009-6337-408D-BC6D-D427130F953F}" presName="Name0" presStyleCnt="0">
        <dgm:presLayoutVars>
          <dgm:dir/>
          <dgm:resizeHandles val="exact"/>
        </dgm:presLayoutVars>
      </dgm:prSet>
      <dgm:spPr/>
    </dgm:pt>
    <dgm:pt modelId="{238B47A1-62DA-4007-985E-864032E632DE}" type="pres">
      <dgm:prSet presAssocID="{C21AF026-7488-4EC6-878C-B8100A0EA920}" presName="composite" presStyleCnt="0"/>
      <dgm:spPr/>
    </dgm:pt>
    <dgm:pt modelId="{98E121C2-F771-4E91-A24D-F7F29CAD5290}" type="pres">
      <dgm:prSet presAssocID="{C21AF026-7488-4EC6-878C-B8100A0EA920}" presName="rect1" presStyleLbl="trAlignAcc1" presStyleIdx="0" presStyleCnt="4" custScaleX="96058">
        <dgm:presLayoutVars>
          <dgm:bulletEnabled val="1"/>
        </dgm:presLayoutVars>
      </dgm:prSet>
      <dgm:spPr/>
    </dgm:pt>
    <dgm:pt modelId="{110255A8-FEF0-4FD3-BAFB-CA436E25ADA0}" type="pres">
      <dgm:prSet presAssocID="{C21AF026-7488-4EC6-878C-B8100A0EA920}" presName="rect2" presStyleLbl="fgImgPlace1" presStyleIdx="0" presStyleCnt="4" custLinFactNeighborX="17255" custLinFactNeighborY="165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eileen"/>
        </a:ext>
      </dgm:extLst>
    </dgm:pt>
    <dgm:pt modelId="{77E29A1F-D4A6-487A-BEA6-161E275D6279}" type="pres">
      <dgm:prSet presAssocID="{D704F571-1C68-4C0A-A065-9D4362DDA4F6}" presName="sibTrans" presStyleCnt="0"/>
      <dgm:spPr/>
    </dgm:pt>
    <dgm:pt modelId="{5F2D0C3F-837A-4018-B771-3BF86D18F635}" type="pres">
      <dgm:prSet presAssocID="{3DF4714D-F603-4F85-AC2E-CA490D3945C5}" presName="composite" presStyleCnt="0"/>
      <dgm:spPr/>
    </dgm:pt>
    <dgm:pt modelId="{14D657FA-AB02-45D7-B046-49D24DE35B11}" type="pres">
      <dgm:prSet presAssocID="{3DF4714D-F603-4F85-AC2E-CA490D3945C5}" presName="rect1" presStyleLbl="trAlignAcc1" presStyleIdx="1" presStyleCnt="4" custScaleX="93665">
        <dgm:presLayoutVars>
          <dgm:bulletEnabled val="1"/>
        </dgm:presLayoutVars>
      </dgm:prSet>
      <dgm:spPr/>
    </dgm:pt>
    <dgm:pt modelId="{8249273A-AEF0-4194-B823-709B8640E15B}" type="pres">
      <dgm:prSet presAssocID="{3DF4714D-F603-4F85-AC2E-CA490D3945C5}" presName="rect2" presStyleLbl="fgImgPlace1" presStyleIdx="1" presStyleCnt="4" custLinFactNeighborX="17632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</dgm:spPr>
      <dgm:extLst>
        <a:ext uri="{E40237B7-FDA0-4F09-8148-C483321AD2D9}">
          <dgm14:cNvPr xmlns:dgm14="http://schemas.microsoft.com/office/drawing/2010/diagram" id="0" name="" descr="mindy"/>
        </a:ext>
      </dgm:extLst>
    </dgm:pt>
    <dgm:pt modelId="{7F5DF768-F5CF-4932-9E7E-F1F9A9FADA6A}" type="pres">
      <dgm:prSet presAssocID="{575BF792-48C0-46AD-81E6-FB2EEC47E2B7}" presName="sibTrans" presStyleCnt="0"/>
      <dgm:spPr/>
    </dgm:pt>
    <dgm:pt modelId="{161115E3-5A72-4BE0-B1AB-35C0F39ECEDF}" type="pres">
      <dgm:prSet presAssocID="{3A71D8FD-BBE7-4213-8C5D-2E2574669373}" presName="composite" presStyleCnt="0"/>
      <dgm:spPr/>
    </dgm:pt>
    <dgm:pt modelId="{22CE4D1E-C220-45F8-9FBB-644C0EFC41CD}" type="pres">
      <dgm:prSet presAssocID="{3A71D8FD-BBE7-4213-8C5D-2E2574669373}" presName="rect1" presStyleLbl="trAlignAcc1" presStyleIdx="2" presStyleCnt="4" custScaleX="90269">
        <dgm:presLayoutVars>
          <dgm:bulletEnabled val="1"/>
        </dgm:presLayoutVars>
      </dgm:prSet>
      <dgm:spPr/>
    </dgm:pt>
    <dgm:pt modelId="{492C3A2B-92C7-49BC-81A0-2B4685E08BB4}" type="pres">
      <dgm:prSet presAssocID="{3A71D8FD-BBE7-4213-8C5D-2E2574669373}" presName="rect2" presStyleLbl="fgImgPlace1" presStyleIdx="2" presStyleCnt="4" custLinFactNeighborX="13935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  <dgm:extLst>
        <a:ext uri="{E40237B7-FDA0-4F09-8148-C483321AD2D9}">
          <dgm14:cNvPr xmlns:dgm14="http://schemas.microsoft.com/office/drawing/2010/diagram" id="0" name="" descr="carolina"/>
        </a:ext>
      </dgm:extLst>
    </dgm:pt>
    <dgm:pt modelId="{D84D5C23-2711-4E9B-A403-ED1E4824DD88}" type="pres">
      <dgm:prSet presAssocID="{D45172A6-2A2C-4460-9DC7-25D94C327D5F}" presName="sibTrans" presStyleCnt="0"/>
      <dgm:spPr/>
    </dgm:pt>
    <dgm:pt modelId="{1BF6292C-162C-4521-941C-C5FCDF73038A}" type="pres">
      <dgm:prSet presAssocID="{9761780D-C285-40B8-95C8-04A82228C2A5}" presName="composite" presStyleCnt="0"/>
      <dgm:spPr/>
    </dgm:pt>
    <dgm:pt modelId="{AAA39488-7145-40E7-8C9C-136573C272DD}" type="pres">
      <dgm:prSet presAssocID="{9761780D-C285-40B8-95C8-04A82228C2A5}" presName="rect1" presStyleLbl="trAlignAcc1" presStyleIdx="3" presStyleCnt="4" custScaleX="90269">
        <dgm:presLayoutVars>
          <dgm:bulletEnabled val="1"/>
        </dgm:presLayoutVars>
      </dgm:prSet>
      <dgm:spPr/>
    </dgm:pt>
    <dgm:pt modelId="{52E6E0F8-21EA-4352-91A6-DCEB841A6AA3}" type="pres">
      <dgm:prSet presAssocID="{9761780D-C285-40B8-95C8-04A82228C2A5}" presName="rect2" presStyleLbl="fgImgPlace1" presStyleIdx="3" presStyleCnt="4" custLinFactNeighborX="13935" custLinFactNeighborY="-845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ristina"/>
        </a:ext>
      </dgm:extLst>
    </dgm:pt>
  </dgm:ptLst>
  <dgm:cxnLst>
    <dgm:cxn modelId="{48FD2907-7D8D-4615-B9AD-EE023998C22B}" srcId="{D4E02009-6337-408D-BC6D-D427130F953F}" destId="{9761780D-C285-40B8-95C8-04A82228C2A5}" srcOrd="3" destOrd="0" parTransId="{0C687AE8-C636-4528-807D-0D0777E26DA3}" sibTransId="{80EE3C98-5012-4A3B-B461-2DBFE856D931}"/>
    <dgm:cxn modelId="{30BA7D31-55EE-460F-B4C4-21091810E7C2}" srcId="{D4E02009-6337-408D-BC6D-D427130F953F}" destId="{3DF4714D-F603-4F85-AC2E-CA490D3945C5}" srcOrd="1" destOrd="0" parTransId="{7284D794-2ABE-4547-B41F-DC4E6EA99B43}" sibTransId="{575BF792-48C0-46AD-81E6-FB2EEC47E2B7}"/>
    <dgm:cxn modelId="{6AA56C65-ED5A-462C-9392-013831793B29}" type="presOf" srcId="{9761780D-C285-40B8-95C8-04A82228C2A5}" destId="{AAA39488-7145-40E7-8C9C-136573C272DD}" srcOrd="0" destOrd="0" presId="urn:microsoft.com/office/officeart/2008/layout/PictureStrips"/>
    <dgm:cxn modelId="{78702368-6049-4888-A130-8C11E9417959}" srcId="{D4E02009-6337-408D-BC6D-D427130F953F}" destId="{C21AF026-7488-4EC6-878C-B8100A0EA920}" srcOrd="0" destOrd="0" parTransId="{2A9F1D9B-1442-449C-8DEB-F767596FCF33}" sibTransId="{D704F571-1C68-4C0A-A065-9D4362DDA4F6}"/>
    <dgm:cxn modelId="{9987017D-3570-416F-ABEA-8EC12D50A16B}" type="presOf" srcId="{C21AF026-7488-4EC6-878C-B8100A0EA920}" destId="{98E121C2-F771-4E91-A24D-F7F29CAD5290}" srcOrd="0" destOrd="0" presId="urn:microsoft.com/office/officeart/2008/layout/PictureStrips"/>
    <dgm:cxn modelId="{B8F42091-F1D3-4258-9FAF-154901813F58}" type="presOf" srcId="{3DF4714D-F603-4F85-AC2E-CA490D3945C5}" destId="{14D657FA-AB02-45D7-B046-49D24DE35B11}" srcOrd="0" destOrd="0" presId="urn:microsoft.com/office/officeart/2008/layout/PictureStrips"/>
    <dgm:cxn modelId="{0654ECA5-9215-4D8A-8793-DD56CA8D6BCA}" srcId="{D4E02009-6337-408D-BC6D-D427130F953F}" destId="{3A71D8FD-BBE7-4213-8C5D-2E2574669373}" srcOrd="2" destOrd="0" parTransId="{86079F95-991F-4335-8BF0-B487F614E74B}" sibTransId="{D45172A6-2A2C-4460-9DC7-25D94C327D5F}"/>
    <dgm:cxn modelId="{6C2F4BE6-0EC3-4983-AEC9-C4175CA50FD9}" type="presOf" srcId="{3A71D8FD-BBE7-4213-8C5D-2E2574669373}" destId="{22CE4D1E-C220-45F8-9FBB-644C0EFC41CD}" srcOrd="0" destOrd="0" presId="urn:microsoft.com/office/officeart/2008/layout/PictureStrips"/>
    <dgm:cxn modelId="{10FBA4FD-708D-49AE-B659-842EFBE47706}" type="presOf" srcId="{D4E02009-6337-408D-BC6D-D427130F953F}" destId="{FC3A1E29-B0ED-40A9-90E6-3F3A5FDBBD7E}" srcOrd="0" destOrd="0" presId="urn:microsoft.com/office/officeart/2008/layout/PictureStrips"/>
    <dgm:cxn modelId="{C1A6D6DA-BCCB-4D37-B829-ABD6665CC803}" type="presParOf" srcId="{FC3A1E29-B0ED-40A9-90E6-3F3A5FDBBD7E}" destId="{238B47A1-62DA-4007-985E-864032E632DE}" srcOrd="0" destOrd="0" presId="urn:microsoft.com/office/officeart/2008/layout/PictureStrips"/>
    <dgm:cxn modelId="{DC39B1BD-B591-439C-B2D4-FEBC4439D511}" type="presParOf" srcId="{238B47A1-62DA-4007-985E-864032E632DE}" destId="{98E121C2-F771-4E91-A24D-F7F29CAD5290}" srcOrd="0" destOrd="0" presId="urn:microsoft.com/office/officeart/2008/layout/PictureStrips"/>
    <dgm:cxn modelId="{74BE01FE-C97D-4A0C-AD04-3DA436CAA500}" type="presParOf" srcId="{238B47A1-62DA-4007-985E-864032E632DE}" destId="{110255A8-FEF0-4FD3-BAFB-CA436E25ADA0}" srcOrd="1" destOrd="0" presId="urn:microsoft.com/office/officeart/2008/layout/PictureStrips"/>
    <dgm:cxn modelId="{E8315C1B-F735-48E6-AA45-8BBC69E5A45B}" type="presParOf" srcId="{FC3A1E29-B0ED-40A9-90E6-3F3A5FDBBD7E}" destId="{77E29A1F-D4A6-487A-BEA6-161E275D6279}" srcOrd="1" destOrd="0" presId="urn:microsoft.com/office/officeart/2008/layout/PictureStrips"/>
    <dgm:cxn modelId="{6FC7F774-118F-4440-95D1-55E557E589C0}" type="presParOf" srcId="{FC3A1E29-B0ED-40A9-90E6-3F3A5FDBBD7E}" destId="{5F2D0C3F-837A-4018-B771-3BF86D18F635}" srcOrd="2" destOrd="0" presId="urn:microsoft.com/office/officeart/2008/layout/PictureStrips"/>
    <dgm:cxn modelId="{B43B4767-7FA1-4CA8-9057-760596F61477}" type="presParOf" srcId="{5F2D0C3F-837A-4018-B771-3BF86D18F635}" destId="{14D657FA-AB02-45D7-B046-49D24DE35B11}" srcOrd="0" destOrd="0" presId="urn:microsoft.com/office/officeart/2008/layout/PictureStrips"/>
    <dgm:cxn modelId="{427CC8BD-A4AB-4440-9B5E-8012F20C26BD}" type="presParOf" srcId="{5F2D0C3F-837A-4018-B771-3BF86D18F635}" destId="{8249273A-AEF0-4194-B823-709B8640E15B}" srcOrd="1" destOrd="0" presId="urn:microsoft.com/office/officeart/2008/layout/PictureStrips"/>
    <dgm:cxn modelId="{B131CB6E-B282-48EA-8DE4-89EBBA7B82DC}" type="presParOf" srcId="{FC3A1E29-B0ED-40A9-90E6-3F3A5FDBBD7E}" destId="{7F5DF768-F5CF-4932-9E7E-F1F9A9FADA6A}" srcOrd="3" destOrd="0" presId="urn:microsoft.com/office/officeart/2008/layout/PictureStrips"/>
    <dgm:cxn modelId="{E2A7D827-1F22-4CD3-99B5-756FD5BDB981}" type="presParOf" srcId="{FC3A1E29-B0ED-40A9-90E6-3F3A5FDBBD7E}" destId="{161115E3-5A72-4BE0-B1AB-35C0F39ECEDF}" srcOrd="4" destOrd="0" presId="urn:microsoft.com/office/officeart/2008/layout/PictureStrips"/>
    <dgm:cxn modelId="{6FDFFD3F-96BF-4C3F-80C5-5D07D8D05FFD}" type="presParOf" srcId="{161115E3-5A72-4BE0-B1AB-35C0F39ECEDF}" destId="{22CE4D1E-C220-45F8-9FBB-644C0EFC41CD}" srcOrd="0" destOrd="0" presId="urn:microsoft.com/office/officeart/2008/layout/PictureStrips"/>
    <dgm:cxn modelId="{C2E2110B-CCE3-4E96-A6CA-E13F6B9F991B}" type="presParOf" srcId="{161115E3-5A72-4BE0-B1AB-35C0F39ECEDF}" destId="{492C3A2B-92C7-49BC-81A0-2B4685E08BB4}" srcOrd="1" destOrd="0" presId="urn:microsoft.com/office/officeart/2008/layout/PictureStrips"/>
    <dgm:cxn modelId="{60EB8EF1-991A-4ED8-BCD5-3FB415C85AAA}" type="presParOf" srcId="{FC3A1E29-B0ED-40A9-90E6-3F3A5FDBBD7E}" destId="{D84D5C23-2711-4E9B-A403-ED1E4824DD88}" srcOrd="5" destOrd="0" presId="urn:microsoft.com/office/officeart/2008/layout/PictureStrips"/>
    <dgm:cxn modelId="{BEECC792-BF6C-4237-B5B9-7276E56C27F0}" type="presParOf" srcId="{FC3A1E29-B0ED-40A9-90E6-3F3A5FDBBD7E}" destId="{1BF6292C-162C-4521-941C-C5FCDF73038A}" srcOrd="6" destOrd="0" presId="urn:microsoft.com/office/officeart/2008/layout/PictureStrips"/>
    <dgm:cxn modelId="{3F0AD025-C81C-4EF7-AB83-F74FD00F8550}" type="presParOf" srcId="{1BF6292C-162C-4521-941C-C5FCDF73038A}" destId="{AAA39488-7145-40E7-8C9C-136573C272DD}" srcOrd="0" destOrd="0" presId="urn:microsoft.com/office/officeart/2008/layout/PictureStrips"/>
    <dgm:cxn modelId="{27F5E2A7-9154-452A-BDD0-6217518B1492}" type="presParOf" srcId="{1BF6292C-162C-4521-941C-C5FCDF73038A}" destId="{52E6E0F8-21EA-4352-91A6-DCEB841A6AA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165E19A-9813-45F5-B40A-DB52F706C1B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C09D8DD-0DF6-4D18-92AC-D6C0BE74CDCC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Overview</a:t>
          </a:r>
        </a:p>
      </dgm:t>
    </dgm:pt>
    <dgm:pt modelId="{A9205D41-08B7-49EF-9958-A07783569F41}" type="par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E57D15C-C7A5-4A10-B0A9-1604D2E63D1C}" type="sibTrans" cxnId="{4338C942-6FA8-4906-A20E-1C9C751F8491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D52F2CF1-E0F3-475B-B742-924A617E6FC5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Alumni data cycle</a:t>
          </a:r>
        </a:p>
      </dgm:t>
    </dgm:pt>
    <dgm:pt modelId="{9D338914-E7CD-4380-ACF8-BF0AB086ACCC}" type="par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AA77EB8-A36B-4BE4-BCCB-8CB85EF1569F}" type="sibTrans" cxnId="{1184A510-EEE4-4DA9-A939-89B9510D706C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03E6F253-F3B2-4A0B-A508-9C83B9C934A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Student data cycle</a:t>
          </a:r>
        </a:p>
      </dgm:t>
    </dgm:pt>
    <dgm:pt modelId="{DD7314CB-CC4A-408A-9795-9C3A3C302A22}" type="par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A5B0898D-4833-4280-ACDE-8BF0E48E7DAD}" type="sibTrans" cxnId="{64C9FED7-3BE0-4F96-9A48-7276C1407B97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4243D5F1-5829-4085-B975-BC726D801EEA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sz="1500" b="1" dirty="0">
              <a:latin typeface="Garamond" panose="02020404030301010803" pitchFamily="18" charset="0"/>
            </a:rPr>
            <a:t>Planning for SY20</a:t>
          </a:r>
        </a:p>
      </dgm:t>
    </dgm:pt>
    <dgm:pt modelId="{C8072D7D-87F3-407A-B693-338E3A99D287}" type="par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9572C8AE-396D-471B-BC99-B065077DCB31}" type="sibTrans" cxnId="{9F854245-9686-4A1F-A80A-E976957A3DB8}">
      <dgm:prSet/>
      <dgm:spPr/>
      <dgm:t>
        <a:bodyPr/>
        <a:lstStyle/>
        <a:p>
          <a:endParaRPr lang="en-US" sz="1500" b="1">
            <a:latin typeface="Garamond" panose="02020404030301010803" pitchFamily="18" charset="0"/>
          </a:endParaRPr>
        </a:p>
      </dgm:t>
    </dgm:pt>
    <dgm:pt modelId="{1601ADB2-4445-47CA-B30F-028F661B144A}" type="pres">
      <dgm:prSet presAssocID="{C165E19A-9813-45F5-B40A-DB52F706C1B9}" presName="Name0" presStyleCnt="0">
        <dgm:presLayoutVars>
          <dgm:dir/>
          <dgm:animLvl val="lvl"/>
          <dgm:resizeHandles val="exact"/>
        </dgm:presLayoutVars>
      </dgm:prSet>
      <dgm:spPr/>
    </dgm:pt>
    <dgm:pt modelId="{15760AB6-1CA1-4A50-AE2A-D120421E684E}" type="pres">
      <dgm:prSet presAssocID="{BC09D8DD-0DF6-4D18-92AC-D6C0BE74CDCC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16E3FFC-F009-40B1-A36F-5FCD47C7BFBE}" type="pres">
      <dgm:prSet presAssocID="{4E57D15C-C7A5-4A10-B0A9-1604D2E63D1C}" presName="parTxOnlySpace" presStyleCnt="0"/>
      <dgm:spPr/>
    </dgm:pt>
    <dgm:pt modelId="{6EB5CA5C-3686-4F4E-9BF6-2A7E3F229DE5}" type="pres">
      <dgm:prSet presAssocID="{D52F2CF1-E0F3-475B-B742-924A617E6FC5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6968DCC-A444-408A-A32D-BB9AC2CD5821}" type="pres">
      <dgm:prSet presAssocID="{9AA77EB8-A36B-4BE4-BCCB-8CB85EF1569F}" presName="parTxOnlySpace" presStyleCnt="0"/>
      <dgm:spPr/>
    </dgm:pt>
    <dgm:pt modelId="{29673870-2FA5-425B-A485-6784F0C6BF21}" type="pres">
      <dgm:prSet presAssocID="{03E6F253-F3B2-4A0B-A508-9C83B9C934AF}" presName="parTxOnly" presStyleLbl="node1" presStyleIdx="2" presStyleCnt="4" custLinFactNeighborY="17647">
        <dgm:presLayoutVars>
          <dgm:chMax val="0"/>
          <dgm:chPref val="0"/>
          <dgm:bulletEnabled val="1"/>
        </dgm:presLayoutVars>
      </dgm:prSet>
      <dgm:spPr/>
    </dgm:pt>
    <dgm:pt modelId="{8DCCF0F2-AC79-4B76-9352-3B57F42D7BB6}" type="pres">
      <dgm:prSet presAssocID="{A5B0898D-4833-4280-ACDE-8BF0E48E7DAD}" presName="parTxOnlySpace" presStyleCnt="0"/>
      <dgm:spPr/>
    </dgm:pt>
    <dgm:pt modelId="{876D27CE-AC81-4E98-A077-5DC04D53D8C8}" type="pres">
      <dgm:prSet presAssocID="{4243D5F1-5829-4085-B975-BC726D801EE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1184A510-EEE4-4DA9-A939-89B9510D706C}" srcId="{C165E19A-9813-45F5-B40A-DB52F706C1B9}" destId="{D52F2CF1-E0F3-475B-B742-924A617E6FC5}" srcOrd="1" destOrd="0" parTransId="{9D338914-E7CD-4380-ACF8-BF0AB086ACCC}" sibTransId="{9AA77EB8-A36B-4BE4-BCCB-8CB85EF1569F}"/>
    <dgm:cxn modelId="{3D385526-1E20-4B8F-83F7-928CC954FB5F}" type="presOf" srcId="{D52F2CF1-E0F3-475B-B742-924A617E6FC5}" destId="{6EB5CA5C-3686-4F4E-9BF6-2A7E3F229DE5}" srcOrd="0" destOrd="0" presId="urn:microsoft.com/office/officeart/2005/8/layout/chevron1"/>
    <dgm:cxn modelId="{9DFF3C62-4251-409D-9A45-898A15BAEEFA}" type="presOf" srcId="{03E6F253-F3B2-4A0B-A508-9C83B9C934AF}" destId="{29673870-2FA5-425B-A485-6784F0C6BF21}" srcOrd="0" destOrd="0" presId="urn:microsoft.com/office/officeart/2005/8/layout/chevron1"/>
    <dgm:cxn modelId="{4338C942-6FA8-4906-A20E-1C9C751F8491}" srcId="{C165E19A-9813-45F5-B40A-DB52F706C1B9}" destId="{BC09D8DD-0DF6-4D18-92AC-D6C0BE74CDCC}" srcOrd="0" destOrd="0" parTransId="{A9205D41-08B7-49EF-9958-A07783569F41}" sibTransId="{4E57D15C-C7A5-4A10-B0A9-1604D2E63D1C}"/>
    <dgm:cxn modelId="{9F854245-9686-4A1F-A80A-E976957A3DB8}" srcId="{C165E19A-9813-45F5-B40A-DB52F706C1B9}" destId="{4243D5F1-5829-4085-B975-BC726D801EEA}" srcOrd="3" destOrd="0" parTransId="{C8072D7D-87F3-407A-B693-338E3A99D287}" sibTransId="{9572C8AE-396D-471B-BC99-B065077DCB31}"/>
    <dgm:cxn modelId="{2E8C9348-3A6E-474B-BAAB-A8D01597AC65}" type="presOf" srcId="{BC09D8DD-0DF6-4D18-92AC-D6C0BE74CDCC}" destId="{15760AB6-1CA1-4A50-AE2A-D120421E684E}" srcOrd="0" destOrd="0" presId="urn:microsoft.com/office/officeart/2005/8/layout/chevron1"/>
    <dgm:cxn modelId="{64C9FED7-3BE0-4F96-9A48-7276C1407B97}" srcId="{C165E19A-9813-45F5-B40A-DB52F706C1B9}" destId="{03E6F253-F3B2-4A0B-A508-9C83B9C934AF}" srcOrd="2" destOrd="0" parTransId="{DD7314CB-CC4A-408A-9795-9C3A3C302A22}" sibTransId="{A5B0898D-4833-4280-ACDE-8BF0E48E7DAD}"/>
    <dgm:cxn modelId="{89201EE7-DAF3-40A3-A7F0-98EFD875793D}" type="presOf" srcId="{C165E19A-9813-45F5-B40A-DB52F706C1B9}" destId="{1601ADB2-4445-47CA-B30F-028F661B144A}" srcOrd="0" destOrd="0" presId="urn:microsoft.com/office/officeart/2005/8/layout/chevron1"/>
    <dgm:cxn modelId="{B9B70AFF-4267-40FD-AC34-E3CF1D1A55B5}" type="presOf" srcId="{4243D5F1-5829-4085-B975-BC726D801EEA}" destId="{876D27CE-AC81-4E98-A077-5DC04D53D8C8}" srcOrd="0" destOrd="0" presId="urn:microsoft.com/office/officeart/2005/8/layout/chevron1"/>
    <dgm:cxn modelId="{5A2FB447-A66E-4646-9BC0-41E6BB530413}" type="presParOf" srcId="{1601ADB2-4445-47CA-B30F-028F661B144A}" destId="{15760AB6-1CA1-4A50-AE2A-D120421E684E}" srcOrd="0" destOrd="0" presId="urn:microsoft.com/office/officeart/2005/8/layout/chevron1"/>
    <dgm:cxn modelId="{5E6FD04A-1499-40B8-8A1F-48222B47578A}" type="presParOf" srcId="{1601ADB2-4445-47CA-B30F-028F661B144A}" destId="{C16E3FFC-F009-40B1-A36F-5FCD47C7BFBE}" srcOrd="1" destOrd="0" presId="urn:microsoft.com/office/officeart/2005/8/layout/chevron1"/>
    <dgm:cxn modelId="{9DFD0D7F-EE76-4CB6-B2C4-452D9E3CAF6A}" type="presParOf" srcId="{1601ADB2-4445-47CA-B30F-028F661B144A}" destId="{6EB5CA5C-3686-4F4E-9BF6-2A7E3F229DE5}" srcOrd="2" destOrd="0" presId="urn:microsoft.com/office/officeart/2005/8/layout/chevron1"/>
    <dgm:cxn modelId="{89070393-B683-4CA0-B2D5-9610C7672B21}" type="presParOf" srcId="{1601ADB2-4445-47CA-B30F-028F661B144A}" destId="{46968DCC-A444-408A-A32D-BB9AC2CD5821}" srcOrd="3" destOrd="0" presId="urn:microsoft.com/office/officeart/2005/8/layout/chevron1"/>
    <dgm:cxn modelId="{4954D972-D2C0-444F-A57D-21BC6B38F361}" type="presParOf" srcId="{1601ADB2-4445-47CA-B30F-028F661B144A}" destId="{29673870-2FA5-425B-A485-6784F0C6BF21}" srcOrd="4" destOrd="0" presId="urn:microsoft.com/office/officeart/2005/8/layout/chevron1"/>
    <dgm:cxn modelId="{60334A17-529B-4BAE-8637-9E4890BC5E49}" type="presParOf" srcId="{1601ADB2-4445-47CA-B30F-028F661B144A}" destId="{8DCCF0F2-AC79-4B76-9352-3B57F42D7BB6}" srcOrd="5" destOrd="0" presId="urn:microsoft.com/office/officeart/2005/8/layout/chevron1"/>
    <dgm:cxn modelId="{E4EB7FF8-7A46-44E9-8E0A-8C6ED4A1A2F6}" type="presParOf" srcId="{1601ADB2-4445-47CA-B30F-028F661B144A}" destId="{876D27CE-AC81-4E98-A077-5DC04D53D8C8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0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5900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7619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92099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0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5900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0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5900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5BFFCE-6015-4E8B-B4EF-53EB8D56F8FE}">
      <dsp:nvSpPr>
        <dsp:cNvPr id="0" name=""/>
        <dsp:cNvSpPr/>
      </dsp:nvSpPr>
      <dsp:spPr>
        <a:xfrm>
          <a:off x="1401919" y="553672"/>
          <a:ext cx="3596961" cy="3596961"/>
        </a:xfrm>
        <a:prstGeom prst="blockArc">
          <a:avLst>
            <a:gd name="adj1" fmla="val 11880000"/>
            <a:gd name="adj2" fmla="val 16200000"/>
            <a:gd name="adj3" fmla="val 464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87642B-5D62-491E-8C43-7A886B4E862A}">
      <dsp:nvSpPr>
        <dsp:cNvPr id="0" name=""/>
        <dsp:cNvSpPr/>
      </dsp:nvSpPr>
      <dsp:spPr>
        <a:xfrm>
          <a:off x="1401919" y="553672"/>
          <a:ext cx="3596961" cy="3596961"/>
        </a:xfrm>
        <a:prstGeom prst="blockArc">
          <a:avLst>
            <a:gd name="adj1" fmla="val 7560000"/>
            <a:gd name="adj2" fmla="val 11880000"/>
            <a:gd name="adj3" fmla="val 464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75D984-46B4-476B-B1E1-3E4694987A80}">
      <dsp:nvSpPr>
        <dsp:cNvPr id="0" name=""/>
        <dsp:cNvSpPr/>
      </dsp:nvSpPr>
      <dsp:spPr>
        <a:xfrm>
          <a:off x="1401919" y="553672"/>
          <a:ext cx="3596961" cy="3596961"/>
        </a:xfrm>
        <a:prstGeom prst="blockArc">
          <a:avLst>
            <a:gd name="adj1" fmla="val 3240000"/>
            <a:gd name="adj2" fmla="val 7560000"/>
            <a:gd name="adj3" fmla="val 464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4C4EDD-6815-43BF-A6B1-9B944E517C94}">
      <dsp:nvSpPr>
        <dsp:cNvPr id="0" name=""/>
        <dsp:cNvSpPr/>
      </dsp:nvSpPr>
      <dsp:spPr>
        <a:xfrm>
          <a:off x="1401919" y="553672"/>
          <a:ext cx="3596961" cy="3596961"/>
        </a:xfrm>
        <a:prstGeom prst="blockArc">
          <a:avLst>
            <a:gd name="adj1" fmla="val 20520000"/>
            <a:gd name="adj2" fmla="val 3240000"/>
            <a:gd name="adj3" fmla="val 464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608535-C9BB-4753-B3FA-602492BDAD11}">
      <dsp:nvSpPr>
        <dsp:cNvPr id="0" name=""/>
        <dsp:cNvSpPr/>
      </dsp:nvSpPr>
      <dsp:spPr>
        <a:xfrm>
          <a:off x="1401919" y="553672"/>
          <a:ext cx="3596961" cy="3596961"/>
        </a:xfrm>
        <a:prstGeom prst="blockArc">
          <a:avLst>
            <a:gd name="adj1" fmla="val 16200000"/>
            <a:gd name="adj2" fmla="val 20520000"/>
            <a:gd name="adj3" fmla="val 4642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4CCF0B-9FA0-4BA1-9279-894F84C0D0E1}">
      <dsp:nvSpPr>
        <dsp:cNvPr id="0" name=""/>
        <dsp:cNvSpPr/>
      </dsp:nvSpPr>
      <dsp:spPr>
        <a:xfrm>
          <a:off x="2372171" y="1523925"/>
          <a:ext cx="1656457" cy="1656457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Garamond" panose="02020404030301010803" pitchFamily="18" charset="0"/>
            </a:rPr>
            <a:t>High expectations and a one-school, 6-16 model</a:t>
          </a:r>
        </a:p>
      </dsp:txBody>
      <dsp:txXfrm>
        <a:off x="2614754" y="1766508"/>
        <a:ext cx="1171291" cy="1171291"/>
      </dsp:txXfrm>
    </dsp:sp>
    <dsp:sp modelId="{1DABA0EE-F189-4EA9-84FF-F08558422965}">
      <dsp:nvSpPr>
        <dsp:cNvPr id="0" name=""/>
        <dsp:cNvSpPr/>
      </dsp:nvSpPr>
      <dsp:spPr>
        <a:xfrm>
          <a:off x="2432757" y="-147077"/>
          <a:ext cx="1535285" cy="1484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Garamond" panose="02020404030301010803" pitchFamily="18" charset="0"/>
            </a:rPr>
            <a:t>Ethics</a:t>
          </a:r>
        </a:p>
      </dsp:txBody>
      <dsp:txXfrm>
        <a:off x="2657594" y="70394"/>
        <a:ext cx="1085611" cy="1050043"/>
      </dsp:txXfrm>
    </dsp:sp>
    <dsp:sp modelId="{809E60D4-BBAC-49F6-B3B4-A89F96F4EF81}">
      <dsp:nvSpPr>
        <dsp:cNvPr id="0" name=""/>
        <dsp:cNvSpPr/>
      </dsp:nvSpPr>
      <dsp:spPr>
        <a:xfrm>
          <a:off x="4103514" y="1066798"/>
          <a:ext cx="1535285" cy="1484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Garamond" panose="02020404030301010803" pitchFamily="18" charset="0"/>
            </a:rPr>
            <a:t>Student supports</a:t>
          </a:r>
        </a:p>
      </dsp:txBody>
      <dsp:txXfrm>
        <a:off x="4328351" y="1284269"/>
        <a:ext cx="1085611" cy="1050043"/>
      </dsp:txXfrm>
    </dsp:sp>
    <dsp:sp modelId="{79047333-CCBA-483B-8232-952DADCEB95B}">
      <dsp:nvSpPr>
        <dsp:cNvPr id="0" name=""/>
        <dsp:cNvSpPr/>
      </dsp:nvSpPr>
      <dsp:spPr>
        <a:xfrm>
          <a:off x="3465341" y="3030891"/>
          <a:ext cx="1535285" cy="1484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Garamond" panose="02020404030301010803" pitchFamily="18" charset="0"/>
            </a:rPr>
            <a:t>Professional excellence</a:t>
          </a:r>
        </a:p>
      </dsp:txBody>
      <dsp:txXfrm>
        <a:off x="3690178" y="3248362"/>
        <a:ext cx="1085611" cy="1050043"/>
      </dsp:txXfrm>
    </dsp:sp>
    <dsp:sp modelId="{5D5B0C58-3DF4-4CBF-BC5E-89E95CC38EDE}">
      <dsp:nvSpPr>
        <dsp:cNvPr id="0" name=""/>
        <dsp:cNvSpPr/>
      </dsp:nvSpPr>
      <dsp:spPr>
        <a:xfrm>
          <a:off x="1400172" y="3030891"/>
          <a:ext cx="1535285" cy="1484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Garamond" panose="02020404030301010803" pitchFamily="18" charset="0"/>
            </a:rPr>
            <a:t>Alumni supports</a:t>
          </a:r>
        </a:p>
      </dsp:txBody>
      <dsp:txXfrm>
        <a:off x="1625009" y="3248362"/>
        <a:ext cx="1085611" cy="1050043"/>
      </dsp:txXfrm>
    </dsp:sp>
    <dsp:sp modelId="{53DF542C-7E52-4B15-B09F-3CA63FA5DC28}">
      <dsp:nvSpPr>
        <dsp:cNvPr id="0" name=""/>
        <dsp:cNvSpPr/>
      </dsp:nvSpPr>
      <dsp:spPr>
        <a:xfrm>
          <a:off x="762000" y="1066798"/>
          <a:ext cx="1535285" cy="148498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Garamond" panose="02020404030301010803" pitchFamily="18" charset="0"/>
            </a:rPr>
            <a:t>Rigorous academics</a:t>
          </a:r>
        </a:p>
      </dsp:txBody>
      <dsp:txXfrm>
        <a:off x="986837" y="1284269"/>
        <a:ext cx="1085611" cy="105004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D657FA-AB02-45D7-B046-49D24DE35B11}">
      <dsp:nvSpPr>
        <dsp:cNvPr id="0" name=""/>
        <dsp:cNvSpPr/>
      </dsp:nvSpPr>
      <dsp:spPr>
        <a:xfrm>
          <a:off x="403999" y="621212"/>
          <a:ext cx="3087941" cy="89604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6763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Sharon Liszanckie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Executive Director</a:t>
          </a:r>
        </a:p>
      </dsp:txBody>
      <dsp:txXfrm>
        <a:off x="403999" y="621212"/>
        <a:ext cx="3087941" cy="896043"/>
      </dsp:txXfrm>
    </dsp:sp>
    <dsp:sp modelId="{8249273A-AEF0-4194-B823-709B8640E15B}">
      <dsp:nvSpPr>
        <dsp:cNvPr id="0" name=""/>
        <dsp:cNvSpPr/>
      </dsp:nvSpPr>
      <dsp:spPr>
        <a:xfrm>
          <a:off x="226629" y="377760"/>
          <a:ext cx="751083" cy="11266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CE4D1E-C220-45F8-9FBB-644C0EFC41CD}">
      <dsp:nvSpPr>
        <dsp:cNvPr id="0" name=""/>
        <dsp:cNvSpPr/>
      </dsp:nvSpPr>
      <dsp:spPr>
        <a:xfrm>
          <a:off x="487949" y="1883504"/>
          <a:ext cx="2976008" cy="89604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6763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Graham VanderZanden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i="1" kern="1200" dirty="0">
              <a:latin typeface="Garamond" panose="02020404030301010803" pitchFamily="18" charset="0"/>
            </a:rPr>
            <a:t>Director of Strategic Projects</a:t>
          </a:r>
        </a:p>
      </dsp:txBody>
      <dsp:txXfrm>
        <a:off x="487949" y="1883504"/>
        <a:ext cx="2976008" cy="896043"/>
      </dsp:txXfrm>
    </dsp:sp>
    <dsp:sp modelId="{492C3A2B-92C7-49BC-81A0-2B4685E08BB4}">
      <dsp:nvSpPr>
        <dsp:cNvPr id="0" name=""/>
        <dsp:cNvSpPr/>
      </dsp:nvSpPr>
      <dsp:spPr>
        <a:xfrm>
          <a:off x="226626" y="1640052"/>
          <a:ext cx="751083" cy="1126625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A39488-7145-40E7-8C9C-136573C272DD}">
      <dsp:nvSpPr>
        <dsp:cNvPr id="0" name=""/>
        <dsp:cNvSpPr/>
      </dsp:nvSpPr>
      <dsp:spPr>
        <a:xfrm>
          <a:off x="487949" y="3145796"/>
          <a:ext cx="2976008" cy="89604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6763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Katie Bernier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Data Analyst</a:t>
          </a:r>
        </a:p>
      </dsp:txBody>
      <dsp:txXfrm>
        <a:off x="487949" y="3145796"/>
        <a:ext cx="2976008" cy="896043"/>
      </dsp:txXfrm>
    </dsp:sp>
    <dsp:sp modelId="{52E6E0F8-21EA-4352-91A6-DCEB841A6AA3}">
      <dsp:nvSpPr>
        <dsp:cNvPr id="0" name=""/>
        <dsp:cNvSpPr/>
      </dsp:nvSpPr>
      <dsp:spPr>
        <a:xfrm>
          <a:off x="226626" y="2892824"/>
          <a:ext cx="751083" cy="112662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E121C2-F771-4E91-A24D-F7F29CAD5290}">
      <dsp:nvSpPr>
        <dsp:cNvPr id="0" name=""/>
        <dsp:cNvSpPr/>
      </dsp:nvSpPr>
      <dsp:spPr>
        <a:xfrm>
          <a:off x="685701" y="686958"/>
          <a:ext cx="3093454" cy="100637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652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Eileen Callahan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Chief Academic Officer</a:t>
          </a:r>
        </a:p>
      </dsp:txBody>
      <dsp:txXfrm>
        <a:off x="685701" y="686958"/>
        <a:ext cx="3093454" cy="1006375"/>
      </dsp:txXfrm>
    </dsp:sp>
    <dsp:sp modelId="{110255A8-FEF0-4FD3-BAFB-CA436E25ADA0}">
      <dsp:nvSpPr>
        <dsp:cNvPr id="0" name=""/>
        <dsp:cNvSpPr/>
      </dsp:nvSpPr>
      <dsp:spPr>
        <a:xfrm>
          <a:off x="609599" y="559092"/>
          <a:ext cx="704463" cy="1056694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D657FA-AB02-45D7-B046-49D24DE35B11}">
      <dsp:nvSpPr>
        <dsp:cNvPr id="0" name=""/>
        <dsp:cNvSpPr/>
      </dsp:nvSpPr>
      <dsp:spPr>
        <a:xfrm>
          <a:off x="743499" y="1953874"/>
          <a:ext cx="3016390" cy="100637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652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Mindy Wright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Director of the Persistence Project</a:t>
          </a:r>
        </a:p>
      </dsp:txBody>
      <dsp:txXfrm>
        <a:off x="743499" y="1953874"/>
        <a:ext cx="3016390" cy="1006375"/>
      </dsp:txXfrm>
    </dsp:sp>
    <dsp:sp modelId="{8249273A-AEF0-4194-B823-709B8640E15B}">
      <dsp:nvSpPr>
        <dsp:cNvPr id="0" name=""/>
        <dsp:cNvSpPr/>
      </dsp:nvSpPr>
      <dsp:spPr>
        <a:xfrm>
          <a:off x="631521" y="1808508"/>
          <a:ext cx="704463" cy="1056694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CE4D1E-C220-45F8-9FBB-644C0EFC41CD}">
      <dsp:nvSpPr>
        <dsp:cNvPr id="0" name=""/>
        <dsp:cNvSpPr/>
      </dsp:nvSpPr>
      <dsp:spPr>
        <a:xfrm>
          <a:off x="825523" y="3220789"/>
          <a:ext cx="2907025" cy="100637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652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Carolina Brito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HS Principal</a:t>
          </a:r>
        </a:p>
      </dsp:txBody>
      <dsp:txXfrm>
        <a:off x="825523" y="3220789"/>
        <a:ext cx="2907025" cy="1006375"/>
      </dsp:txXfrm>
    </dsp:sp>
    <dsp:sp modelId="{492C3A2B-92C7-49BC-81A0-2B4685E08BB4}">
      <dsp:nvSpPr>
        <dsp:cNvPr id="0" name=""/>
        <dsp:cNvSpPr/>
      </dsp:nvSpPr>
      <dsp:spPr>
        <a:xfrm>
          <a:off x="632818" y="3075424"/>
          <a:ext cx="704463" cy="1056694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A39488-7145-40E7-8C9C-136573C272DD}">
      <dsp:nvSpPr>
        <dsp:cNvPr id="0" name=""/>
        <dsp:cNvSpPr/>
      </dsp:nvSpPr>
      <dsp:spPr>
        <a:xfrm>
          <a:off x="825523" y="4487704"/>
          <a:ext cx="2907025" cy="1006375"/>
        </a:xfrm>
        <a:prstGeom prst="rect">
          <a:avLst/>
        </a:prstGeom>
        <a:solidFill>
          <a:schemeClr val="bg1">
            <a:alpha val="4000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1652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Garamond" panose="02020404030301010803" pitchFamily="18" charset="0"/>
            </a:rPr>
            <a:t>Cristina Lopez</a:t>
          </a:r>
        </a:p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i="1" kern="1200" dirty="0">
              <a:latin typeface="Garamond" panose="02020404030301010803" pitchFamily="18" charset="0"/>
            </a:rPr>
            <a:t>MS Principal</a:t>
          </a:r>
        </a:p>
      </dsp:txBody>
      <dsp:txXfrm>
        <a:off x="825523" y="4487704"/>
        <a:ext cx="2907025" cy="1006375"/>
      </dsp:txXfrm>
    </dsp:sp>
    <dsp:sp modelId="{52E6E0F8-21EA-4352-91A6-DCEB841A6AA3}">
      <dsp:nvSpPr>
        <dsp:cNvPr id="0" name=""/>
        <dsp:cNvSpPr/>
      </dsp:nvSpPr>
      <dsp:spPr>
        <a:xfrm>
          <a:off x="632818" y="4333410"/>
          <a:ext cx="704463" cy="1056694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760AB6-1CA1-4A50-AE2A-D120421E684E}">
      <dsp:nvSpPr>
        <dsp:cNvPr id="0" name=""/>
        <dsp:cNvSpPr/>
      </dsp:nvSpPr>
      <dsp:spPr>
        <a:xfrm>
          <a:off x="3817" y="0"/>
          <a:ext cx="2222152" cy="431800"/>
        </a:xfrm>
        <a:prstGeom prst="chevron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Overview</a:t>
          </a:r>
        </a:p>
      </dsp:txBody>
      <dsp:txXfrm>
        <a:off x="219717" y="0"/>
        <a:ext cx="1790352" cy="431800"/>
      </dsp:txXfrm>
    </dsp:sp>
    <dsp:sp modelId="{6EB5CA5C-3686-4F4E-9BF6-2A7E3F229DE5}">
      <dsp:nvSpPr>
        <dsp:cNvPr id="0" name=""/>
        <dsp:cNvSpPr/>
      </dsp:nvSpPr>
      <dsp:spPr>
        <a:xfrm>
          <a:off x="2003754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Alumni data cycle</a:t>
          </a:r>
        </a:p>
      </dsp:txBody>
      <dsp:txXfrm>
        <a:off x="2219654" y="0"/>
        <a:ext cx="1790352" cy="431800"/>
      </dsp:txXfrm>
    </dsp:sp>
    <dsp:sp modelId="{29673870-2FA5-425B-A485-6784F0C6BF21}">
      <dsp:nvSpPr>
        <dsp:cNvPr id="0" name=""/>
        <dsp:cNvSpPr/>
      </dsp:nvSpPr>
      <dsp:spPr>
        <a:xfrm>
          <a:off x="4003692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Student data cycle</a:t>
          </a:r>
        </a:p>
      </dsp:txBody>
      <dsp:txXfrm>
        <a:off x="4219592" y="0"/>
        <a:ext cx="1790352" cy="431800"/>
      </dsp:txXfrm>
    </dsp:sp>
    <dsp:sp modelId="{876D27CE-AC81-4E98-A077-5DC04D53D8C8}">
      <dsp:nvSpPr>
        <dsp:cNvPr id="0" name=""/>
        <dsp:cNvSpPr/>
      </dsp:nvSpPr>
      <dsp:spPr>
        <a:xfrm>
          <a:off x="6003629" y="0"/>
          <a:ext cx="2222152" cy="431800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Garamond" panose="02020404030301010803" pitchFamily="18" charset="0"/>
            </a:rPr>
            <a:t>Planning for SY20</a:t>
          </a:r>
        </a:p>
      </dsp:txBody>
      <dsp:txXfrm>
        <a:off x="6219529" y="0"/>
        <a:ext cx="1790352" cy="431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AD9BE03B-B755-4A53-8E40-56FFFBC474B0}" type="datetimeFigureOut">
              <a:rPr lang="en-US" smtClean="0"/>
              <a:t>6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20315"/>
            <a:ext cx="5615940" cy="4187666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D5DBCC9C-FD0F-46BA-9FF2-BF24B6751A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201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arrate over session objective and agenda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77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4810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9012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24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8431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7218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andard Boston</a:t>
            </a:r>
            <a:r>
              <a:rPr lang="en-US" baseline="0"/>
              <a:t> Prep overview, including:</a:t>
            </a:r>
          </a:p>
          <a:p>
            <a:pPr marL="233218" indent="-233218">
              <a:buAutoNum type="arabicPeriod"/>
            </a:pPr>
            <a:r>
              <a:rPr lang="en-US" baseline="0"/>
              <a:t>Mission</a:t>
            </a:r>
          </a:p>
          <a:p>
            <a:pPr marL="233218" indent="-233218">
              <a:buAutoNum type="arabicPeriod"/>
            </a:pPr>
            <a:r>
              <a:rPr lang="en-US" baseline="0"/>
              <a:t>Milestones (opened in 2004; added a grade each year; first HS graduates in 2011; Founder transition in 2012; first college graduates in 2015; approved for growth in 2017)</a:t>
            </a:r>
          </a:p>
          <a:p>
            <a:pPr marL="233218" indent="-233218">
              <a:buAutoNum type="arabicPeriod"/>
            </a:pPr>
            <a:r>
              <a:rPr lang="en-US" baseline="0"/>
              <a:t>Summary data (400 students; 181 alumni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0573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057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0573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057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each introduce ourselv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62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5809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06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veat: Video</a:t>
            </a:r>
            <a:r>
              <a:rPr lang="en-US" baseline="0"/>
              <a:t> was produced in 2015; data has been updated since the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DBCC9C-FD0F-46BA-9FF2-BF24B6751A1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145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F1EE8-0C2B-4E87-910D-142646CD22D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371600" y="47244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/>
            </a:lvl1pPr>
          </a:lstStyle>
          <a:p>
            <a:r>
              <a:rPr lang="en-US" sz="3600" i="1" dirty="0">
                <a:solidFill>
                  <a:srgbClr val="B32026"/>
                </a:solidFill>
                <a:latin typeface="Century Schoolbook" panose="02040604050505020304" pitchFamily="18" charset="0"/>
              </a:rPr>
              <a:t>Document Title</a:t>
            </a:r>
          </a:p>
          <a:p>
            <a:r>
              <a:rPr lang="en-US" sz="2400" i="1" dirty="0">
                <a:solidFill>
                  <a:srgbClr val="D3A67C"/>
                </a:solidFill>
                <a:latin typeface="Century Schoolbook" panose="02040604050505020304" pitchFamily="18" charset="0"/>
              </a:rPr>
              <a:t>Month Day, Year</a:t>
            </a:r>
          </a:p>
        </p:txBody>
      </p:sp>
      <p:pic>
        <p:nvPicPr>
          <p:cNvPr id="8" name="Picture 2" descr="C:\Users\achen\Documents\Logo\BP-PrimaryLogo-ED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100" y="642936"/>
            <a:ext cx="6019800" cy="3720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45720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5742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6A1886-6DA6-47D9-86EA-ACF37F48E5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99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4372D-6864-46B7-90A3-A549C0DCE79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265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099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41FB3-6FFB-4590-A957-6155D90142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3637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147AA-499C-45B6-BA4C-F40CE20B45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347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28AD7-018D-4D13-A579-AC216A75574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1337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BBECC2-E9CA-4660-83DA-4C33ADCAFDA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7792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8197A-92DA-47F1-B1E0-EC062A3739B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603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D9B4E4-325D-4545-9A87-89D2DF16E3F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9486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5C791-4A36-4628-B7F1-29207136659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447800"/>
            <a:ext cx="82296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C:\Users\achen\Documents\Logo\BP-PrimaryLogo-EDS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87" r="15442" b="30267"/>
          <a:stretch/>
        </p:blipFill>
        <p:spPr bwMode="auto">
          <a:xfrm>
            <a:off x="7924800" y="5932462"/>
            <a:ext cx="831273" cy="517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/>
          <p:cNvCxnSpPr/>
          <p:nvPr userDrawn="1"/>
        </p:nvCxnSpPr>
        <p:spPr>
          <a:xfrm>
            <a:off x="457200" y="6400800"/>
            <a:ext cx="7543800" cy="0"/>
          </a:xfrm>
          <a:prstGeom prst="line">
            <a:avLst/>
          </a:prstGeom>
          <a:ln w="19050">
            <a:solidFill>
              <a:srgbClr val="D3A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905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3F6A7-F30B-4C54-8FF1-8DF21690E42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09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56245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CE7BCF-492A-4104-9276-A014C47FFF0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43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Century Schoolbook" panose="02040604050505020304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Schoolbook" panose="02040604050505020304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entury Schoolbook" panose="02040604050505020304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Schoolbook" panose="020406040505050203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entury Schoolbook" panose="020406040505050203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entury Schoolbook" panose="0204060405050502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12" Type="http://schemas.microsoft.com/office/2007/relationships/diagramDrawing" Target="../diagrams/drawing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11" Type="http://schemas.openxmlformats.org/officeDocument/2006/relationships/diagramColors" Target="../diagrams/colors12.xml"/><Relationship Id="rId5" Type="http://schemas.openxmlformats.org/officeDocument/2006/relationships/oleObject" Target="../embeddings/oleObject5.bin"/><Relationship Id="rId10" Type="http://schemas.openxmlformats.org/officeDocument/2006/relationships/diagramQuickStyle" Target="../diagrams/quickStyle12.xml"/><Relationship Id="rId4" Type="http://schemas.openxmlformats.org/officeDocument/2006/relationships/notesSlide" Target="../notesSlides/notesSlide9.xml"/><Relationship Id="rId9" Type="http://schemas.openxmlformats.org/officeDocument/2006/relationships/diagramLayout" Target="../diagrams/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12" Type="http://schemas.microsoft.com/office/2007/relationships/diagramDrawing" Target="../diagrams/drawing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11" Type="http://schemas.openxmlformats.org/officeDocument/2006/relationships/diagramColors" Target="../diagrams/colors13.xml"/><Relationship Id="rId5" Type="http://schemas.openxmlformats.org/officeDocument/2006/relationships/oleObject" Target="../embeddings/oleObject6.bin"/><Relationship Id="rId10" Type="http://schemas.openxmlformats.org/officeDocument/2006/relationships/diagramQuickStyle" Target="../diagrams/quickStyle13.xml"/><Relationship Id="rId4" Type="http://schemas.openxmlformats.org/officeDocument/2006/relationships/notesSlide" Target="../notesSlides/notesSlide10.xml"/><Relationship Id="rId9" Type="http://schemas.openxmlformats.org/officeDocument/2006/relationships/diagramLayout" Target="../diagrams/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microsoft.com/office/2007/relationships/diagramDrawing" Target="../diagrams/drawing1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11" Type="http://schemas.openxmlformats.org/officeDocument/2006/relationships/diagramColors" Target="../diagrams/colors14.xml"/><Relationship Id="rId5" Type="http://schemas.openxmlformats.org/officeDocument/2006/relationships/oleObject" Target="../embeddings/oleObject7.bin"/><Relationship Id="rId10" Type="http://schemas.openxmlformats.org/officeDocument/2006/relationships/diagramQuickStyle" Target="../diagrams/quickStyle14.xml"/><Relationship Id="rId4" Type="http://schemas.openxmlformats.org/officeDocument/2006/relationships/notesSlide" Target="../notesSlides/notesSlide11.xml"/><Relationship Id="rId9" Type="http://schemas.openxmlformats.org/officeDocument/2006/relationships/diagramLayout" Target="../diagrams/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5.xml"/><Relationship Id="rId12" Type="http://schemas.openxmlformats.org/officeDocument/2006/relationships/image" Target="../media/image19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11" Type="http://schemas.microsoft.com/office/2007/relationships/diagramDrawing" Target="../diagrams/drawing15.xml"/><Relationship Id="rId5" Type="http://schemas.openxmlformats.org/officeDocument/2006/relationships/oleObject" Target="../embeddings/oleObject8.bin"/><Relationship Id="rId10" Type="http://schemas.openxmlformats.org/officeDocument/2006/relationships/diagramColors" Target="../diagrams/colors15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15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7.xml"/><Relationship Id="rId3" Type="http://schemas.openxmlformats.org/officeDocument/2006/relationships/image" Target="../media/image20.emf"/><Relationship Id="rId7" Type="http://schemas.openxmlformats.org/officeDocument/2006/relationships/diagramColors" Target="../diagrams/colors1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7.xml"/><Relationship Id="rId5" Type="http://schemas.openxmlformats.org/officeDocument/2006/relationships/diagramLayout" Target="../diagrams/layout17.xml"/><Relationship Id="rId4" Type="http://schemas.openxmlformats.org/officeDocument/2006/relationships/diagramData" Target="../diagrams/data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8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diagramData" Target="../diagrams/data18.xml"/><Relationship Id="rId5" Type="http://schemas.openxmlformats.org/officeDocument/2006/relationships/image" Target="../media/image14.emf"/><Relationship Id="rId10" Type="http://schemas.microsoft.com/office/2007/relationships/diagramDrawing" Target="../diagrams/drawing18.xml"/><Relationship Id="rId4" Type="http://schemas.openxmlformats.org/officeDocument/2006/relationships/oleObject" Target="../embeddings/oleObject9.bin"/><Relationship Id="rId9" Type="http://schemas.openxmlformats.org/officeDocument/2006/relationships/diagramColors" Target="../diagrams/colors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3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diagramData" Target="../diagrams/data9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17" Type="http://schemas.microsoft.com/office/2007/relationships/diagramDrawing" Target="../diagrams/drawing9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Relationship Id="rId14" Type="http://schemas.openxmlformats.org/officeDocument/2006/relationships/diagramLayout" Target="../diagrams/layout9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3.jpeg"/><Relationship Id="rId7" Type="http://schemas.openxmlformats.org/officeDocument/2006/relationships/diagramColors" Target="../diagrams/colors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12" Type="http://schemas.microsoft.com/office/2007/relationships/diagramDrawing" Target="../diagrams/drawing1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11" Type="http://schemas.openxmlformats.org/officeDocument/2006/relationships/diagramColors" Target="../diagrams/colors11.xml"/><Relationship Id="rId5" Type="http://schemas.openxmlformats.org/officeDocument/2006/relationships/oleObject" Target="../embeddings/oleObject4.bin"/><Relationship Id="rId10" Type="http://schemas.openxmlformats.org/officeDocument/2006/relationships/diagramQuickStyle" Target="../diagrams/quickStyle11.xml"/><Relationship Id="rId4" Type="http://schemas.openxmlformats.org/officeDocument/2006/relationships/notesSlide" Target="../notesSlides/notesSlide8.xml"/><Relationship Id="rId9" Type="http://schemas.openxmlformats.org/officeDocument/2006/relationships/diagramLayout" Target="../diagrams/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Data Cycles with EWIS</a:t>
            </a:r>
            <a:br>
              <a:rPr lang="en-US" dirty="0"/>
            </a:br>
            <a:r>
              <a:rPr lang="en-US" dirty="0"/>
              <a:t>May 31st, 2019</a:t>
            </a:r>
            <a:br>
              <a:rPr lang="en-US" dirty="0"/>
            </a:br>
            <a:endParaRPr lang="en-US" dirty="0"/>
          </a:p>
        </p:txBody>
      </p:sp>
      <p:pic>
        <p:nvPicPr>
          <p:cNvPr id="5" name="Content Placeholder 4" descr="boston prep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00364" y="1600200"/>
            <a:ext cx="7543271" cy="4525963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9767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descr="network student id&#10;hs class&#10;persistence risk level &#10;current status&#10;on track for 6 year graduation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038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 hidden="1"/>
          <p:cNvSpPr>
            <a:spLocks noGrp="1"/>
          </p:cNvSpPr>
          <p:nvPr>
            <p:ph type="title"/>
          </p:nvPr>
        </p:nvSpPr>
        <p:spPr>
          <a:xfrm>
            <a:off x="228600" y="4761869"/>
            <a:ext cx="8229600" cy="1143000"/>
          </a:xfrm>
        </p:spPr>
        <p:txBody>
          <a:bodyPr/>
          <a:lstStyle/>
          <a:p>
            <a:r>
              <a:rPr lang="en-US" dirty="0"/>
              <a:t>Step 2: Review EWIS Data</a:t>
            </a:r>
            <a:br>
              <a:rPr lang="en-US" dirty="0"/>
            </a:b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 descr="line&#10;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2284" y="61429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Step 2: Review EWIS Data</a:t>
            </a:r>
          </a:p>
          <a:p>
            <a:r>
              <a:rPr lang="en-US" sz="2000" dirty="0">
                <a:latin typeface="Garamond" panose="02020404030301010803" pitchFamily="18" charset="0"/>
              </a:rPr>
              <a:t>Annual data update, including EWIS data, informs risk analysis</a:t>
            </a:r>
          </a:p>
        </p:txBody>
      </p:sp>
      <p:graphicFrame>
        <p:nvGraphicFramePr>
          <p:cNvPr id="8" name="Table 7" descr="step actio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8874158"/>
              </p:ext>
            </p:extLst>
          </p:nvPr>
        </p:nvGraphicFramePr>
        <p:xfrm>
          <a:off x="5638800" y="1524000"/>
          <a:ext cx="3048000" cy="40538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NSC data and periodic check-ins help us track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pic>
        <p:nvPicPr>
          <p:cNvPr id="6" name="Picture 5" descr="network student id&#10;hs class&#10;persistence risk level&#10;current status&#10; on track"/>
          <p:cNvPicPr>
            <a:picLocks noChangeAspect="1"/>
          </p:cNvPicPr>
          <p:nvPr/>
        </p:nvPicPr>
        <p:blipFill rotWithShape="1">
          <a:blip r:embed="rId7"/>
          <a:srcRect b="10425"/>
          <a:stretch/>
        </p:blipFill>
        <p:spPr>
          <a:xfrm>
            <a:off x="457200" y="1503218"/>
            <a:ext cx="5100963" cy="483235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9" name="Diagram 8" descr="student data cyce&#10;planning for sy20"/>
          <p:cNvGraphicFramePr/>
          <p:nvPr>
            <p:extLst>
              <p:ext uri="{D42A27DB-BD31-4B8C-83A1-F6EECF244321}">
                <p14:modId xmlns:p14="http://schemas.microsoft.com/office/powerpoint/2010/main" val="2101005828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4866150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descr="contac notes&#10;contact note name&#10;date of contact&#10;subject&#10;comments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09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 hidden="1"/>
          <p:cNvSpPr>
            <a:spLocks noGrp="1"/>
          </p:cNvSpPr>
          <p:nvPr>
            <p:ph type="title"/>
          </p:nvPr>
        </p:nvSpPr>
        <p:spPr>
          <a:xfrm>
            <a:off x="381000" y="5395912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Step 3-4: Explore Underlying Causes; Take Action</a:t>
            </a:r>
            <a:br>
              <a:rPr lang="en-US" dirty="0"/>
            </a:br>
            <a:r>
              <a:rPr lang="en-US" dirty="0">
                <a:latin typeface="Garamond" panose="02020404030301010803" pitchFamily="18" charset="0"/>
              </a:rPr>
              <a:t>College and alumni counselors plan supports and interventions. Counselors conduct prioritized outreach</a:t>
            </a:r>
            <a:br>
              <a:rPr lang="en-US" dirty="0">
                <a:latin typeface="Garamond" panose="02020404030301010803" pitchFamily="18" charset="0"/>
              </a:rPr>
            </a:b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90500" y="426402"/>
            <a:ext cx="8610600" cy="10467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Step 3-4: Explore Underlying Causes; Take Action</a:t>
            </a:r>
          </a:p>
          <a:p>
            <a:r>
              <a:rPr lang="en-US" sz="2000" dirty="0">
                <a:latin typeface="Garamond" panose="02020404030301010803" pitchFamily="18" charset="0"/>
              </a:rPr>
              <a:t>College and alumni counselors plan supports and interventions. Counselors conduct prioritized outreach</a:t>
            </a:r>
          </a:p>
        </p:txBody>
      </p:sp>
      <p:pic>
        <p:nvPicPr>
          <p:cNvPr id="2" name="Picture 1" descr="contact notes&#10;new contact note"/>
          <p:cNvPicPr>
            <a:picLocks noChangeAspect="1"/>
          </p:cNvPicPr>
          <p:nvPr/>
        </p:nvPicPr>
        <p:blipFill rotWithShape="1">
          <a:blip r:embed="rId7"/>
          <a:srcRect r="50000"/>
          <a:stretch/>
        </p:blipFill>
        <p:spPr>
          <a:xfrm>
            <a:off x="76200" y="2438400"/>
            <a:ext cx="5562600" cy="2286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8" name="Table 7" descr="steps&#10;sales force database tracks student progress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228554"/>
              </p:ext>
            </p:extLst>
          </p:nvPr>
        </p:nvGraphicFramePr>
        <p:xfrm>
          <a:off x="5638800" y="1524000"/>
          <a:ext cx="3048000" cy="40538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1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NSC data and periodic check-ins help us track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graphicFrame>
        <p:nvGraphicFramePr>
          <p:cNvPr id="9" name="Diagram 8" descr="overview, alumni data cycle, student data cycle, planning for sy20"/>
          <p:cNvGraphicFramePr/>
          <p:nvPr>
            <p:extLst>
              <p:ext uri="{D42A27DB-BD31-4B8C-83A1-F6EECF244321}">
                <p14:modId xmlns:p14="http://schemas.microsoft.com/office/powerpoint/2010/main" val="945790741"/>
              </p:ext>
            </p:extLst>
          </p:nvPr>
        </p:nvGraphicFramePr>
        <p:xfrm>
          <a:off x="457200" y="762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816750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descr="alumni status by year&#10;&#10;no college&#10;attending 4 yr college&#10;matriculating&#10;attending 2 yr&#10;graduated 4 yr&#10;attended  4 yr&#10;graduated 2 yr&#10;attended 2 yr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31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 hidden="1"/>
          <p:cNvSpPr>
            <a:spLocks noGrp="1"/>
          </p:cNvSpPr>
          <p:nvPr>
            <p:ph type="title"/>
          </p:nvPr>
        </p:nvSpPr>
        <p:spPr>
          <a:xfrm>
            <a:off x="304800" y="5901813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Step 5: Monitor Students and Interventions</a:t>
            </a:r>
            <a:br>
              <a:rPr lang="en-US" dirty="0"/>
            </a:br>
            <a:r>
              <a:rPr lang="en-US" dirty="0">
                <a:latin typeface="Garamond" panose="02020404030301010803" pitchFamily="18" charset="0"/>
              </a:rPr>
              <a:t>NSC data and periodic check-ins help us track progress</a:t>
            </a:r>
            <a:br>
              <a:rPr lang="en-US" dirty="0">
                <a:latin typeface="Garamond" panose="02020404030301010803" pitchFamily="18" charset="0"/>
              </a:rPr>
            </a:b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Step 5: Monitor Students and Interventions</a:t>
            </a:r>
          </a:p>
          <a:p>
            <a:r>
              <a:rPr lang="en-US" sz="2000" dirty="0">
                <a:latin typeface="Garamond" panose="02020404030301010803" pitchFamily="18" charset="0"/>
              </a:rPr>
              <a:t>NSC data and periodic check-ins help us track progress</a:t>
            </a:r>
          </a:p>
        </p:txBody>
      </p:sp>
      <p:graphicFrame>
        <p:nvGraphicFramePr>
          <p:cNvPr id="8" name="Table 7" descr="Salesforce database tracks student progress to/through college&#10;Annual data update, including EWIS data, informs risk analysis&#10;College and alumni counselors plan supports and interventions&#10;Counselors conduct prioritized outreach&#10;NSC data and periodic check-ins help us track progress&#10;Targeted alumni interviews to understand drivers of college success for our alumni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971399"/>
              </p:ext>
            </p:extLst>
          </p:nvPr>
        </p:nvGraphicFramePr>
        <p:xfrm>
          <a:off x="5638800" y="1524000"/>
          <a:ext cx="3048000" cy="3840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NSC data and periodic check-ins</a:t>
                      </a: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 help us track progress</a:t>
                      </a:r>
                      <a:endParaRPr lang="en-US" sz="1400" b="1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pic>
        <p:nvPicPr>
          <p:cNvPr id="6" name="Picture 5" descr="alumni status by year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2599" y="1676400"/>
            <a:ext cx="5098843" cy="41910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Diagram 9" descr="student data cycle&#10;planning for sy20"/>
          <p:cNvGraphicFramePr/>
          <p:nvPr>
            <p:extLst>
              <p:ext uri="{D42A27DB-BD31-4B8C-83A1-F6EECF244321}">
                <p14:modId xmlns:p14="http://schemas.microsoft.com/office/powerpoint/2010/main" val="1948800796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962246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descr="Increase in the likelihood of persistenc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64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 hidden="1"/>
          <p:cNvSpPr>
            <a:spLocks noGrp="1"/>
          </p:cNvSpPr>
          <p:nvPr>
            <p:ph type="title"/>
          </p:nvPr>
        </p:nvSpPr>
        <p:spPr>
          <a:xfrm>
            <a:off x="533400" y="566611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Step 6: Refine the Process</a:t>
            </a:r>
            <a:br>
              <a:rPr lang="en-US" dirty="0"/>
            </a:br>
            <a:r>
              <a:rPr lang="en-US" dirty="0">
                <a:latin typeface="Garamond" panose="02020404030301010803" pitchFamily="18" charset="0"/>
              </a:rPr>
              <a:t>Targeted alumni interviews to understand drivers of college success for our alumni</a:t>
            </a:r>
            <a:br>
              <a:rPr lang="en-US" dirty="0">
                <a:latin typeface="Garamond" panose="02020404030301010803" pitchFamily="18" charset="0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42900" y="628327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Step 6: Refine the Process</a:t>
            </a:r>
          </a:p>
          <a:p>
            <a:r>
              <a:rPr lang="en-US" sz="2000" dirty="0">
                <a:latin typeface="Garamond" panose="02020404030301010803" pitchFamily="18" charset="0"/>
              </a:rPr>
              <a:t>Targeted alumni interviews to understand drivers of college success for our alumni</a:t>
            </a:r>
          </a:p>
        </p:txBody>
      </p:sp>
      <p:graphicFrame>
        <p:nvGraphicFramePr>
          <p:cNvPr id="8" name="Table 7" descr="Salesforce database tracks student progress to/through college&#10;Annual data update, including EWIS data, informs risk analysis&#10;College and alumni counselors plan supports and interventions&#10;Counselors conduct prioritized outreach&#10;NSC data and periodic check-ins help us track progress&#10;Targeted alumni interviews to understand drivers of college success for our alumni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0409788"/>
              </p:ext>
            </p:extLst>
          </p:nvPr>
        </p:nvGraphicFramePr>
        <p:xfrm>
          <a:off x="5638800" y="1524000"/>
          <a:ext cx="3048000" cy="3840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NSC data and periodic check-in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help us track progress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1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graphicFrame>
        <p:nvGraphicFramePr>
          <p:cNvPr id="10" name="Diagram 9" descr="student data cycle"/>
          <p:cNvGraphicFramePr/>
          <p:nvPr>
            <p:extLst>
              <p:ext uri="{D42A27DB-BD31-4B8C-83A1-F6EECF244321}">
                <p14:modId xmlns:p14="http://schemas.microsoft.com/office/powerpoint/2010/main" val="3046443990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6" name="Picture 5" descr="increase in the likelihood of persistence&#10;&#10;living on campus&#10;mcas Ela&#10;gap quartile&#10;Ela growth&#10;hispanic&#10;mcas math&#10;sat score&#10;staying in stat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851980"/>
            <a:ext cx="4772025" cy="413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230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57200" y="624859"/>
            <a:ext cx="8229600" cy="1143000"/>
          </a:xfrm>
        </p:spPr>
        <p:txBody>
          <a:bodyPr/>
          <a:lstStyle/>
          <a:p>
            <a:r>
              <a:rPr lang="en-US" dirty="0"/>
              <a:t>Annual MS/HS data cycle</a:t>
            </a:r>
            <a:br>
              <a:rPr lang="en-US" dirty="0"/>
            </a:b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nual MS/HS data cycl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22530" name="Picture 2" descr="6 Step Early Warning Implementation Cycle: Step 1- Get Organized; Step 2- Review EWIS Data;  Summer/Beginning of School Year; Step 3- Explore Underlying Causes; Step 4- Take Action Repeat throughout the School Year; Step 5- Monitor Students and Interventions; Step 6- Refine the Process End of School Year/Summer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81270"/>
            <a:ext cx="5629723" cy="488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7" descr="Weekly GLM dashboard helps faculty members stay up-to-date on student progress&#10;EWIS data informs weekly GLMs&#10;Principals lead teachers in prioritizing students and interventions&#10;Teachers work with students (in class, in advisories, etc.)&#10;Weekly GLMs enable updates&#10;Ongoing review of dashboard tool between Principals and Data Analyst informs updates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146996"/>
              </p:ext>
            </p:extLst>
          </p:nvPr>
        </p:nvGraphicFramePr>
        <p:xfrm>
          <a:off x="5638800" y="1524000"/>
          <a:ext cx="3048000" cy="3840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Weekly GLM dashboard helps faculty members stay up-to-date on student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EWIS data informs weekly GL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Principals lead teachers in prioritizing studen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eachers work with students (in class, in advisories, etc.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Weekly GLMs enable upda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Ongoing review of dashboar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tool between Principals and Data Analyst informs updates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graphicFrame>
        <p:nvGraphicFramePr>
          <p:cNvPr id="6" name="Diagram 5" descr="student data cycle&#10;plannning for sy20"/>
          <p:cNvGraphicFramePr/>
          <p:nvPr>
            <p:extLst>
              <p:ext uri="{D42A27DB-BD31-4B8C-83A1-F6EECF244321}">
                <p14:modId xmlns:p14="http://schemas.microsoft.com/office/powerpoint/2010/main" val="3380578165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961317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hidden="1"/>
          <p:cNvSpPr>
            <a:spLocks noGrp="1"/>
          </p:cNvSpPr>
          <p:nvPr>
            <p:ph type="title"/>
          </p:nvPr>
        </p:nvSpPr>
        <p:spPr>
          <a:xfrm>
            <a:off x="457200" y="965200"/>
            <a:ext cx="8229600" cy="452438"/>
          </a:xfrm>
        </p:spPr>
        <p:txBody>
          <a:bodyPr>
            <a:normAutofit fontScale="90000"/>
          </a:bodyPr>
          <a:lstStyle/>
          <a:p>
            <a:r>
              <a:rPr lang="en-US" dirty="0"/>
              <a:t>Weekly MS/HS data cycle</a:t>
            </a:r>
            <a:br>
              <a:rPr lang="en-US" dirty="0"/>
            </a:b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Weekly MS/HS data cycle</a:t>
            </a:r>
          </a:p>
        </p:txBody>
      </p:sp>
      <p:graphicFrame>
        <p:nvGraphicFramePr>
          <p:cNvPr id="8" name="Table 7" descr="Weekly GLM dashboard helps faculty members stay up-to-date on student progress&#10;EWIS data informs weekly GLMs&#10;Principals lead teachers in prioritizing students and interventions&#10;Teachers work with students (in class, in advisories, etc.)&#10;Weekly GLMs enable updates&#10;Ongoing review of dashboard tool between Principals and Data Analyst informs updates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950800"/>
              </p:ext>
            </p:extLst>
          </p:nvPr>
        </p:nvGraphicFramePr>
        <p:xfrm>
          <a:off x="990600" y="1524000"/>
          <a:ext cx="7162800" cy="2133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85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7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Weekly GLM dashboard helps faculty members stay up-to-date on student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EWIS data informs weekly GL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Principals lead teachers in prioritizing studen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eachers work with students (in class, in advisories, etc.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Weekly GLMs enable upda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Ongoing review of dashboar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tool between Principals and Data Analyst informs updates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pic>
        <p:nvPicPr>
          <p:cNvPr id="6" name="Picture 5" descr="chart of EWIS indicators"/>
          <p:cNvPicPr>
            <a:picLocks noChangeAspect="1"/>
          </p:cNvPicPr>
          <p:nvPr/>
        </p:nvPicPr>
        <p:blipFill rotWithShape="1">
          <a:blip r:embed="rId3"/>
          <a:srcRect b="32254"/>
          <a:stretch/>
        </p:blipFill>
        <p:spPr>
          <a:xfrm>
            <a:off x="105206" y="3771400"/>
            <a:ext cx="8886394" cy="2705600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9" name="Diagram 8" descr="student data cycle&#10;planning sy20"/>
          <p:cNvGraphicFramePr/>
          <p:nvPr>
            <p:extLst>
              <p:ext uri="{D42A27DB-BD31-4B8C-83A1-F6EECF244321}">
                <p14:modId xmlns:p14="http://schemas.microsoft.com/office/powerpoint/2010/main" val="3775440964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060314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descr="planning for sy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81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WIS Next Ste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ur Alumni and Student data cycles both draw on EWIS data to inform planning conversations about how best to support students. Moving forward, we hope to use EWIS data to:</a:t>
            </a:r>
          </a:p>
          <a:p>
            <a:pPr>
              <a:buFontTx/>
              <a:buChar char="-"/>
            </a:pPr>
            <a:r>
              <a:rPr lang="en-US" dirty="0"/>
              <a:t>Better support new students from day 1</a:t>
            </a:r>
          </a:p>
          <a:p>
            <a:pPr>
              <a:buFontTx/>
              <a:buChar char="-"/>
            </a:pPr>
            <a:r>
              <a:rPr lang="en-US" dirty="0"/>
              <a:t>Create bridges between our 6-12 and our Persistence programm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Diagram 6" descr="planning for sy20&#10;"/>
          <p:cNvGraphicFramePr/>
          <p:nvPr>
            <p:extLst>
              <p:ext uri="{D42A27DB-BD31-4B8C-83A1-F6EECF244321}">
                <p14:modId xmlns:p14="http://schemas.microsoft.com/office/powerpoint/2010/main" val="1777965130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573339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610600" cy="884238"/>
          </a:xfrm>
        </p:spPr>
        <p:txBody>
          <a:bodyPr>
            <a:noAutofit/>
          </a:bodyPr>
          <a:lstStyle/>
          <a:p>
            <a:pPr algn="l"/>
            <a:r>
              <a:rPr lang="en-US" sz="2800"/>
              <a:t>Agenda</a:t>
            </a:r>
            <a:endParaRPr lang="en-US" sz="28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oston Prep overview</a:t>
            </a:r>
          </a:p>
          <a:p>
            <a:r>
              <a:rPr lang="en-US" dirty="0"/>
              <a:t>Data cycles</a:t>
            </a:r>
          </a:p>
          <a:p>
            <a:pPr lvl="1"/>
            <a:r>
              <a:rPr lang="en-US" dirty="0"/>
              <a:t>Alumni data (annually)</a:t>
            </a:r>
          </a:p>
          <a:p>
            <a:pPr lvl="1"/>
            <a:r>
              <a:rPr lang="en-US" dirty="0"/>
              <a:t>Student data (weekly)</a:t>
            </a:r>
          </a:p>
          <a:p>
            <a:r>
              <a:rPr lang="en-US" dirty="0"/>
              <a:t>Planning for SY20</a:t>
            </a:r>
          </a:p>
          <a:p>
            <a:endParaRPr lang="en-US" dirty="0"/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</p:txBody>
      </p:sp>
      <p:graphicFrame>
        <p:nvGraphicFramePr>
          <p:cNvPr id="5" name="Diagram 4" descr="overview"/>
          <p:cNvGraphicFramePr/>
          <p:nvPr>
            <p:extLst>
              <p:ext uri="{D42A27DB-BD31-4B8C-83A1-F6EECF244321}">
                <p14:modId xmlns:p14="http://schemas.microsoft.com/office/powerpoint/2010/main" val="3255368627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 descr="Picture of Boston Prep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531" y="1676400"/>
            <a:ext cx="4322269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899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Title 1" hidden="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Boston Prep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7200" y="1971676"/>
            <a:ext cx="8229600" cy="209708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entury Schoolbook" panose="020406040505050203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1800" dirty="0">
              <a:latin typeface="Garamond" panose="02020404030301010803" pitchFamily="18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US" sz="1800" dirty="0">
              <a:latin typeface="Garamond" panose="02020404030301010803" pitchFamily="18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/>
              <a:t>To prepare students to </a:t>
            </a:r>
            <a:r>
              <a:rPr lang="en-US" sz="2200" b="1" dirty="0">
                <a:solidFill>
                  <a:schemeClr val="accent2"/>
                </a:solidFill>
              </a:rPr>
              <a:t>succeed in four-year colleges </a:t>
            </a:r>
            <a:r>
              <a:rPr lang="en-US" sz="2200" dirty="0"/>
              <a:t>and embody, in thought and action, </a:t>
            </a:r>
            <a:r>
              <a:rPr lang="en-US" sz="2200" b="1" dirty="0">
                <a:solidFill>
                  <a:schemeClr val="accent2"/>
                </a:solidFill>
              </a:rPr>
              <a:t>lifelong ethical growth</a:t>
            </a:r>
            <a:r>
              <a:rPr lang="en-US" sz="2200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9" name="Oval 8"/>
          <p:cNvSpPr/>
          <p:nvPr/>
        </p:nvSpPr>
        <p:spPr>
          <a:xfrm>
            <a:off x="3407568" y="1676400"/>
            <a:ext cx="2328863" cy="59055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Schoolbook" panose="02040604050505020304" pitchFamily="18" charset="0"/>
              </a:rPr>
              <a:t>Mission</a:t>
            </a:r>
          </a:p>
        </p:txBody>
      </p:sp>
      <p:graphicFrame>
        <p:nvGraphicFramePr>
          <p:cNvPr id="7" name="Diagram 6" descr="Mission to prepare students to succeed in four year colleges and embody in thought and action, lifelonge ethical growth"/>
          <p:cNvGraphicFramePr/>
          <p:nvPr>
            <p:extLst>
              <p:ext uri="{D42A27DB-BD31-4B8C-83A1-F6EECF244321}">
                <p14:modId xmlns:p14="http://schemas.microsoft.com/office/powerpoint/2010/main" val="2789000902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itle 9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</a:t>
            </a:r>
          </a:p>
        </p:txBody>
      </p:sp>
    </p:spTree>
    <p:extLst>
      <p:ext uri="{BB962C8B-B14F-4D97-AF65-F5344CB8AC3E}">
        <p14:creationId xmlns:p14="http://schemas.microsoft.com/office/powerpoint/2010/main" val="1163494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descr="Milestones in boston prep history&#10;&#10;2004 Boston Prep opens 6th grad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33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ston Prep History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Milestone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Boston Prep History</a:t>
            </a:r>
          </a:p>
        </p:txBody>
      </p:sp>
      <p:sp>
        <p:nvSpPr>
          <p:cNvPr id="8" name="Rectangle 7"/>
          <p:cNvSpPr/>
          <p:nvPr/>
        </p:nvSpPr>
        <p:spPr>
          <a:xfrm>
            <a:off x="76200" y="5486400"/>
            <a:ext cx="9144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tx1"/>
                </a:solidFill>
                <a:latin typeface="Garamond" panose="02020404030301010803" pitchFamily="18" charset="0"/>
              </a:rPr>
              <a:t>2004</a:t>
            </a:r>
          </a:p>
        </p:txBody>
      </p:sp>
      <p:sp>
        <p:nvSpPr>
          <p:cNvPr id="9" name="Rectangle 8"/>
          <p:cNvSpPr/>
          <p:nvPr/>
        </p:nvSpPr>
        <p:spPr>
          <a:xfrm>
            <a:off x="8077200" y="5486400"/>
            <a:ext cx="9144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Garamond" panose="02020404030301010803" pitchFamily="18" charset="0"/>
              </a:rPr>
              <a:t>2019</a:t>
            </a:r>
          </a:p>
        </p:txBody>
      </p:sp>
      <p:sp>
        <p:nvSpPr>
          <p:cNvPr id="10" name="Line Callout 2 9"/>
          <p:cNvSpPr/>
          <p:nvPr/>
        </p:nvSpPr>
        <p:spPr>
          <a:xfrm>
            <a:off x="762000" y="2265528"/>
            <a:ext cx="2667000" cy="304800"/>
          </a:xfrm>
          <a:prstGeom prst="borderCallout2">
            <a:avLst>
              <a:gd name="adj1" fmla="val 50093"/>
              <a:gd name="adj2" fmla="val -124"/>
              <a:gd name="adj3" fmla="val 52332"/>
              <a:gd name="adj4" fmla="val -8025"/>
              <a:gd name="adj5" fmla="val 1014166"/>
              <a:gd name="adj6" fmla="val -7442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  <a:latin typeface="Garamond" panose="02020404030301010803" pitchFamily="18" charset="0"/>
              </a:rPr>
              <a:t>2004: Boston Prep opens 6</a:t>
            </a:r>
            <a:r>
              <a:rPr lang="en-US" sz="1400" baseline="30000">
                <a:solidFill>
                  <a:schemeClr val="tx1"/>
                </a:solidFill>
                <a:latin typeface="Garamond" panose="02020404030301010803" pitchFamily="18" charset="0"/>
              </a:rPr>
              <a:t>th</a:t>
            </a:r>
            <a:r>
              <a:rPr lang="en-US" sz="1400">
                <a:solidFill>
                  <a:schemeClr val="tx1"/>
                </a:solidFill>
                <a:latin typeface="Garamond" panose="02020404030301010803" pitchFamily="18" charset="0"/>
              </a:rPr>
              <a:t> grade</a:t>
            </a:r>
          </a:p>
        </p:txBody>
      </p:sp>
      <p:sp>
        <p:nvSpPr>
          <p:cNvPr id="11" name="Line Callout 2 10"/>
          <p:cNvSpPr/>
          <p:nvPr/>
        </p:nvSpPr>
        <p:spPr>
          <a:xfrm>
            <a:off x="2756279" y="3429000"/>
            <a:ext cx="2349121" cy="304800"/>
          </a:xfrm>
          <a:prstGeom prst="borderCallout2">
            <a:avLst>
              <a:gd name="adj1" fmla="val 50093"/>
              <a:gd name="adj2" fmla="val 100945"/>
              <a:gd name="adj3" fmla="val 52332"/>
              <a:gd name="adj4" fmla="val 112069"/>
              <a:gd name="adj5" fmla="val 636618"/>
              <a:gd name="adj6" fmla="val 113298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  <a:latin typeface="Garamond" panose="02020404030301010803" pitchFamily="18" charset="0"/>
              </a:rPr>
              <a:t>2011: First HS graduating class</a:t>
            </a:r>
          </a:p>
        </p:txBody>
      </p:sp>
      <p:sp>
        <p:nvSpPr>
          <p:cNvPr id="12" name="Line Callout 2 11"/>
          <p:cNvSpPr/>
          <p:nvPr/>
        </p:nvSpPr>
        <p:spPr>
          <a:xfrm>
            <a:off x="3429000" y="2819400"/>
            <a:ext cx="2615821" cy="304800"/>
          </a:xfrm>
          <a:prstGeom prst="borderCallout2">
            <a:avLst>
              <a:gd name="adj1" fmla="val 44829"/>
              <a:gd name="adj2" fmla="val 100453"/>
              <a:gd name="adj3" fmla="val 47069"/>
              <a:gd name="adj4" fmla="val 110619"/>
              <a:gd name="adj5" fmla="val 842651"/>
              <a:gd name="adj6" fmla="val 111936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  <a:latin typeface="Garamond" panose="02020404030301010803" pitchFamily="18" charset="0"/>
              </a:rPr>
              <a:t>2014: First 4-year college graduate</a:t>
            </a:r>
          </a:p>
        </p:txBody>
      </p:sp>
      <p:sp>
        <p:nvSpPr>
          <p:cNvPr id="13" name="Line Callout 2 12"/>
          <p:cNvSpPr/>
          <p:nvPr/>
        </p:nvSpPr>
        <p:spPr>
          <a:xfrm>
            <a:off x="3581400" y="2103436"/>
            <a:ext cx="4114800" cy="334963"/>
          </a:xfrm>
          <a:prstGeom prst="borderCallout2">
            <a:avLst>
              <a:gd name="adj1" fmla="val 55356"/>
              <a:gd name="adj2" fmla="val 100071"/>
              <a:gd name="adj3" fmla="val 57595"/>
              <a:gd name="adj4" fmla="val 107362"/>
              <a:gd name="adj5" fmla="val 985744"/>
              <a:gd name="adj6" fmla="val 107471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Garamond" panose="02020404030301010803" pitchFamily="18" charset="0"/>
              </a:rPr>
              <a:t>2017: State approves Boston Prep to open 300 new seats</a:t>
            </a:r>
          </a:p>
        </p:txBody>
      </p:sp>
      <p:sp>
        <p:nvSpPr>
          <p:cNvPr id="14" name="Left Brace 13"/>
          <p:cNvSpPr/>
          <p:nvPr/>
        </p:nvSpPr>
        <p:spPr>
          <a:xfrm rot="5400000">
            <a:off x="2625290" y="2960571"/>
            <a:ext cx="765210" cy="4042613"/>
          </a:xfrm>
          <a:prstGeom prst="leftBrace">
            <a:avLst>
              <a:gd name="adj1" fmla="val 55952"/>
              <a:gd name="adj2" fmla="val 50000"/>
            </a:avLst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/>
            <a:r>
              <a:rPr lang="en-US" sz="1400">
                <a:latin typeface="Garamond" panose="02020404030301010803" pitchFamily="18" charset="0"/>
              </a:rPr>
              <a:t>2005-2010: Boston Prep adds a grade level each year</a:t>
            </a:r>
          </a:p>
        </p:txBody>
      </p:sp>
      <p:sp>
        <p:nvSpPr>
          <p:cNvPr id="16" name="Line Callout 2 15"/>
          <p:cNvSpPr/>
          <p:nvPr/>
        </p:nvSpPr>
        <p:spPr>
          <a:xfrm>
            <a:off x="2095500" y="4040777"/>
            <a:ext cx="2781300" cy="304800"/>
          </a:xfrm>
          <a:prstGeom prst="borderCallout2">
            <a:avLst>
              <a:gd name="adj1" fmla="val 50093"/>
              <a:gd name="adj2" fmla="val 100945"/>
              <a:gd name="adj3" fmla="val 48047"/>
              <a:gd name="adj4" fmla="val 110100"/>
              <a:gd name="adj5" fmla="val 438927"/>
              <a:gd name="adj6" fmla="val 110188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  <a:latin typeface="Garamond" panose="02020404030301010803" pitchFamily="18" charset="0"/>
              </a:rPr>
              <a:t>2010: Persistence Project is launched</a:t>
            </a:r>
          </a:p>
        </p:txBody>
      </p:sp>
      <p:sp>
        <p:nvSpPr>
          <p:cNvPr id="7" name="Rectangle 6" descr="Milestones in Boston Prep History"/>
          <p:cNvSpPr/>
          <p:nvPr/>
        </p:nvSpPr>
        <p:spPr>
          <a:xfrm flipV="1">
            <a:off x="533400" y="5364481"/>
            <a:ext cx="8001000" cy="4571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Diagram 16" descr="2005-2010 boston prep adds a grade level every year"/>
          <p:cNvGraphicFramePr/>
          <p:nvPr>
            <p:extLst>
              <p:ext uri="{D42A27DB-BD31-4B8C-83A1-F6EECF244321}">
                <p14:modId xmlns:p14="http://schemas.microsoft.com/office/powerpoint/2010/main" val="3157048322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069068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627626"/>
            <a:ext cx="8229600" cy="1143000"/>
          </a:xfrm>
        </p:spPr>
        <p:txBody>
          <a:bodyPr/>
          <a:lstStyle/>
          <a:p>
            <a:r>
              <a:rPr lang="en-US" dirty="0"/>
              <a:t>Boston Prep Overview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Key Design Element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Title 1" hidden="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Boston Prep Overview</a:t>
            </a:r>
          </a:p>
        </p:txBody>
      </p:sp>
      <p:graphicFrame>
        <p:nvGraphicFramePr>
          <p:cNvPr id="2" name="Diagram 1" descr="Key Design Elements&#10;Ethics&#10;Student Supports&#10;Professional Excellence&#10;Alumni Supports&#10;Rigorous Academics&#10;High Expectation and a one school 6-16 model"/>
          <p:cNvGraphicFramePr/>
          <p:nvPr>
            <p:extLst>
              <p:ext uri="{D42A27DB-BD31-4B8C-83A1-F6EECF244321}">
                <p14:modId xmlns:p14="http://schemas.microsoft.com/office/powerpoint/2010/main" val="893443062"/>
              </p:ext>
            </p:extLst>
          </p:nvPr>
        </p:nvGraphicFramePr>
        <p:xfrm>
          <a:off x="1143000" y="1828800"/>
          <a:ext cx="6400800" cy="4368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 descr="key design elements"/>
          <p:cNvGraphicFramePr/>
          <p:nvPr>
            <p:extLst>
              <p:ext uri="{D42A27DB-BD31-4B8C-83A1-F6EECF244321}">
                <p14:modId xmlns:p14="http://schemas.microsoft.com/office/powerpoint/2010/main" val="2315050657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836946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 descr="Boston Prep Overview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en-US" dirty="0"/>
            </a:br>
            <a:r>
              <a:rPr lang="en-US" dirty="0"/>
              <a:t>Boston Prep Overview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By the Numbers: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404937" y="213360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 dirty="0">
                <a:solidFill>
                  <a:schemeClr val="tx1"/>
                </a:solidFill>
                <a:latin typeface="Century Schoolbook" panose="02040604050505020304" pitchFamily="18" charset="0"/>
              </a:rPr>
              <a:t>Current students, across grades 6 through 12</a:t>
            </a:r>
          </a:p>
        </p:txBody>
      </p:sp>
      <p:sp>
        <p:nvSpPr>
          <p:cNvPr id="8" name="Oval 7"/>
          <p:cNvSpPr/>
          <p:nvPr/>
        </p:nvSpPr>
        <p:spPr>
          <a:xfrm>
            <a:off x="719137" y="213360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Schoolbook" panose="02040604050505020304" pitchFamily="18" charset="0"/>
              </a:rPr>
              <a:t>527</a:t>
            </a:r>
          </a:p>
        </p:txBody>
      </p:sp>
      <p:sp>
        <p:nvSpPr>
          <p:cNvPr id="9" name="Rectangle 8"/>
          <p:cNvSpPr/>
          <p:nvPr/>
        </p:nvSpPr>
        <p:spPr>
          <a:xfrm>
            <a:off x="1404937" y="277368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>
                <a:solidFill>
                  <a:schemeClr val="tx1"/>
                </a:solidFill>
                <a:latin typeface="Century Schoolbook" panose="02040604050505020304" pitchFamily="18" charset="0"/>
              </a:rPr>
              <a:t>Alumni</a:t>
            </a:r>
            <a:endParaRPr lang="en-US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719137" y="277368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Schoolbook" panose="02040604050505020304" pitchFamily="18" charset="0"/>
              </a:rPr>
              <a:t>27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404937" y="341376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 dirty="0">
                <a:solidFill>
                  <a:schemeClr val="tx1"/>
                </a:solidFill>
                <a:latin typeface="Century Schoolbook" panose="02040604050505020304" pitchFamily="18" charset="0"/>
              </a:rPr>
              <a:t>Acceptance to 4-year colleges; 8 years in a row</a:t>
            </a:r>
          </a:p>
        </p:txBody>
      </p:sp>
      <p:sp>
        <p:nvSpPr>
          <p:cNvPr id="12" name="Oval 11"/>
          <p:cNvSpPr/>
          <p:nvPr/>
        </p:nvSpPr>
        <p:spPr>
          <a:xfrm>
            <a:off x="719137" y="341376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Century Schoolbook" panose="02040604050505020304" pitchFamily="18" charset="0"/>
              </a:rPr>
              <a:t>100%</a:t>
            </a:r>
            <a:endParaRPr lang="en-US" sz="2400" b="1" dirty="0">
              <a:latin typeface="Century Schoolbook" panose="02040604050505020304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04937" y="405384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 dirty="0">
                <a:solidFill>
                  <a:schemeClr val="tx1"/>
                </a:solidFill>
                <a:latin typeface="Century Schoolbook" panose="02040604050505020304" pitchFamily="18" charset="0"/>
              </a:rPr>
              <a:t>Matriculation to college the fall after graduation </a:t>
            </a:r>
            <a:endParaRPr lang="en-US" sz="1600" i="1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719137" y="405384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Century Schoolbook" panose="02040604050505020304" pitchFamily="18" charset="0"/>
              </a:rPr>
              <a:t>98%</a:t>
            </a:r>
            <a:endParaRPr lang="en-US" sz="2400" b="1" dirty="0">
              <a:latin typeface="Century Schoolbook" panose="020406040505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404937" y="533400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 dirty="0">
                <a:solidFill>
                  <a:schemeClr val="tx1"/>
                </a:solidFill>
                <a:latin typeface="Century Schoolbook" panose="02040604050505020304" pitchFamily="18" charset="0"/>
              </a:rPr>
              <a:t>Graduation from 4-year college</a:t>
            </a:r>
          </a:p>
        </p:txBody>
      </p:sp>
      <p:sp>
        <p:nvSpPr>
          <p:cNvPr id="16" name="Oval 15"/>
          <p:cNvSpPr/>
          <p:nvPr/>
        </p:nvSpPr>
        <p:spPr>
          <a:xfrm>
            <a:off x="719137" y="533400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Schoolbook" panose="02040604050505020304" pitchFamily="18" charset="0"/>
              </a:rPr>
              <a:t>52%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404937" y="4693920"/>
            <a:ext cx="7205663" cy="4572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rtlCol="0" anchor="ctr"/>
          <a:lstStyle/>
          <a:p>
            <a:r>
              <a:rPr lang="en-US" dirty="0">
                <a:solidFill>
                  <a:schemeClr val="tx1"/>
                </a:solidFill>
                <a:latin typeface="Century Schoolbook" panose="02040604050505020304" pitchFamily="18" charset="0"/>
              </a:rPr>
              <a:t>Persistence rate in college</a:t>
            </a:r>
          </a:p>
        </p:txBody>
      </p:sp>
      <p:sp>
        <p:nvSpPr>
          <p:cNvPr id="18" name="Oval 17"/>
          <p:cNvSpPr/>
          <p:nvPr/>
        </p:nvSpPr>
        <p:spPr>
          <a:xfrm>
            <a:off x="719137" y="4693920"/>
            <a:ext cx="1371600" cy="457200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Century Schoolbook" panose="02040604050505020304" pitchFamily="18" charset="0"/>
              </a:rPr>
              <a:t>76%</a:t>
            </a:r>
          </a:p>
        </p:txBody>
      </p:sp>
      <p:graphicFrame>
        <p:nvGraphicFramePr>
          <p:cNvPr id="19" name="Diagram 18" descr="by the numbers&#10;527 current students&#10;271 alumni&#10;100% acceptance to four year college&#10;98% Matriculation to college&#10;76% persistenc rate in college&#10;52% graduation from 4 year college"/>
          <p:cNvGraphicFramePr/>
          <p:nvPr>
            <p:extLst>
              <p:ext uri="{D42A27DB-BD31-4B8C-83A1-F6EECF244321}">
                <p14:modId xmlns:p14="http://schemas.microsoft.com/office/powerpoint/2010/main" val="3852465552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483141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Team</a:t>
            </a:r>
            <a:br>
              <a:rPr lang="en-US" dirty="0"/>
            </a:b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1" descr="data team"/>
          <p:cNvSpPr txBox="1">
            <a:spLocks/>
          </p:cNvSpPr>
          <p:nvPr/>
        </p:nvSpPr>
        <p:spPr>
          <a:xfrm>
            <a:off x="228600" y="533400"/>
            <a:ext cx="88392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Data Team</a:t>
            </a:r>
          </a:p>
        </p:txBody>
      </p:sp>
      <p:graphicFrame>
        <p:nvGraphicFramePr>
          <p:cNvPr id="8" name="Diagram 7" descr="sharon lisznckie&#10;graham VanderZanden&#10;Katie Bernier"/>
          <p:cNvGraphicFramePr/>
          <p:nvPr>
            <p:extLst>
              <p:ext uri="{D42A27DB-BD31-4B8C-83A1-F6EECF244321}">
                <p14:modId xmlns:p14="http://schemas.microsoft.com/office/powerpoint/2010/main" val="70650111"/>
              </p:ext>
            </p:extLst>
          </p:nvPr>
        </p:nvGraphicFramePr>
        <p:xfrm>
          <a:off x="229914" y="1600200"/>
          <a:ext cx="3580086" cy="441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 12" descr="Eilleen Callahan &#10;Mindy Wright&#10;Carolina brito&#10;Cristina Lopez"/>
          <p:cNvGraphicFramePr/>
          <p:nvPr>
            <p:extLst>
              <p:ext uri="{D42A27DB-BD31-4B8C-83A1-F6EECF244321}">
                <p14:modId xmlns:p14="http://schemas.microsoft.com/office/powerpoint/2010/main" val="3284030197"/>
              </p:ext>
            </p:extLst>
          </p:nvPr>
        </p:nvGraphicFramePr>
        <p:xfrm>
          <a:off x="4800600" y="898526"/>
          <a:ext cx="4267200" cy="60356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Curved Down Arrow 2" descr="curved down arrow"/>
          <p:cNvSpPr/>
          <p:nvPr/>
        </p:nvSpPr>
        <p:spPr>
          <a:xfrm>
            <a:off x="4008127" y="2438400"/>
            <a:ext cx="1295400" cy="1371600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b="1" dirty="0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sp>
        <p:nvSpPr>
          <p:cNvPr id="14" name="Curved Down Arrow 13" descr="curved up arrow&#10;"/>
          <p:cNvSpPr/>
          <p:nvPr/>
        </p:nvSpPr>
        <p:spPr>
          <a:xfrm rot="10800000">
            <a:off x="3886201" y="4038600"/>
            <a:ext cx="1295400" cy="1371600"/>
          </a:xfrm>
          <a:prstGeom prst="curved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sz="4000" b="1" dirty="0">
              <a:solidFill>
                <a:schemeClr val="tx1"/>
              </a:solidFill>
              <a:latin typeface="Garamond" panose="02020404030301010803" pitchFamily="18" charset="0"/>
            </a:endParaRPr>
          </a:p>
        </p:txBody>
      </p:sp>
      <p:graphicFrame>
        <p:nvGraphicFramePr>
          <p:cNvPr id="15" name="Diagram 14" descr="data team"/>
          <p:cNvGraphicFramePr/>
          <p:nvPr>
            <p:extLst>
              <p:ext uri="{D42A27DB-BD31-4B8C-83A1-F6EECF244321}">
                <p14:modId xmlns:p14="http://schemas.microsoft.com/office/powerpoint/2010/main" val="3291450880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964991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nual Persistence data cycle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Annual Persistence data cycle</a:t>
            </a:r>
          </a:p>
        </p:txBody>
      </p:sp>
      <p:pic>
        <p:nvPicPr>
          <p:cNvPr id="22530" name="Picture 2" descr="6 Step Early Warning Implementation Cycle: Step 1- Get Organized; Step 2- Review EWIS Data;  Summer/Beginning of School Year; Step 3- Explore Underlying Causes; Step 4- Take Action Repeat throughout the School Year; Step 5- Monitor Students and Interventions; Step 6- Refine the Process End of School Year/Summer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472565"/>
            <a:ext cx="5629723" cy="4883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7" descr="sales force database tracks student progress&#10;Annual dat update&#10;College and alumni counselors&#10;Counselor conduct prioritize outreach&#10;NSC dat and periodic checkin&#10;Targeted alumni interviews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053711"/>
              </p:ext>
            </p:extLst>
          </p:nvPr>
        </p:nvGraphicFramePr>
        <p:xfrm>
          <a:off x="5638800" y="1524000"/>
          <a:ext cx="3048000" cy="3840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NSC data and periodic check-ins help us track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graphicFrame>
        <p:nvGraphicFramePr>
          <p:cNvPr id="9" name="Diagram 8" descr="annual persistence data cycle"/>
          <p:cNvGraphicFramePr/>
          <p:nvPr>
            <p:extLst>
              <p:ext uri="{D42A27DB-BD31-4B8C-83A1-F6EECF244321}">
                <p14:modId xmlns:p14="http://schemas.microsoft.com/office/powerpoint/2010/main" val="1122316704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65764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descr="Salesforce database tracks student progress to and through colleg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26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Boston prep student success&#10;&#10;4 year college persistence&#10;alumni status all years&#10;4 year college persistence by year&#10;alumni status by year"/>
          <p:cNvPicPr>
            <a:picLocks noChangeAspect="1"/>
          </p:cNvPicPr>
          <p:nvPr/>
        </p:nvPicPr>
        <p:blipFill rotWithShape="1">
          <a:blip r:embed="rId7"/>
          <a:srcRect r="32652"/>
          <a:stretch/>
        </p:blipFill>
        <p:spPr>
          <a:xfrm>
            <a:off x="431800" y="1676400"/>
            <a:ext cx="5120218" cy="44958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Title 17" hidden="1"/>
          <p:cNvSpPr>
            <a:spLocks noGrp="1"/>
          </p:cNvSpPr>
          <p:nvPr>
            <p:ph type="title"/>
          </p:nvPr>
        </p:nvSpPr>
        <p:spPr>
          <a:xfrm>
            <a:off x="431800" y="6549308"/>
            <a:ext cx="8229600" cy="1143000"/>
          </a:xfrm>
        </p:spPr>
        <p:txBody>
          <a:bodyPr/>
          <a:lstStyle/>
          <a:p>
            <a:r>
              <a:rPr lang="en-US" dirty="0"/>
              <a:t>Get organized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CEE85-9CC1-46CB-90F4-BB3C8A1616B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33400"/>
            <a:ext cx="86106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Century Schoolbook" panose="0204060405050502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Step 1: Get Organized</a:t>
            </a:r>
          </a:p>
          <a:p>
            <a:r>
              <a:rPr lang="en-US" sz="2000" dirty="0">
                <a:latin typeface="Garamond" panose="02020404030301010803" pitchFamily="18" charset="0"/>
              </a:rPr>
              <a:t>Salesforce database tracks student progress to/through college</a:t>
            </a:r>
            <a:endParaRPr lang="en-US" sz="2400" dirty="0"/>
          </a:p>
        </p:txBody>
      </p:sp>
      <p:graphicFrame>
        <p:nvGraphicFramePr>
          <p:cNvPr id="8" name="Table 7" descr="salesforce database tracks student progres to/through colleg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216666"/>
              </p:ext>
            </p:extLst>
          </p:nvPr>
        </p:nvGraphicFramePr>
        <p:xfrm>
          <a:off x="5638800" y="1524000"/>
          <a:ext cx="3048000" cy="3840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9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787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Garamond" panose="02020404030301010803" pitchFamily="18" charset="0"/>
                        </a:rPr>
                        <a:t>St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A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1" dirty="0">
                          <a:latin typeface="Garamond" panose="02020404030301010803" pitchFamily="18" charset="0"/>
                        </a:rPr>
                        <a:t>Salesforce</a:t>
                      </a:r>
                      <a:r>
                        <a:rPr lang="en-US" sz="1400" b="1" baseline="0" dirty="0">
                          <a:latin typeface="Garamond" panose="02020404030301010803" pitchFamily="18" charset="0"/>
                        </a:rPr>
                        <a:t> database tracks student progress to/through college</a:t>
                      </a:r>
                      <a:endParaRPr lang="en-US" sz="1400" b="1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dirty="0">
                          <a:latin typeface="Garamond" panose="02020404030301010803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Annual data update, including EWIS data, informs risk analys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College and alumni counselors plan supports and interven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Counselors conduct prioritized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utreach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NSC data and periodic check-ins help us track progr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7274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charset="0"/>
                        <a:buNone/>
                      </a:pPr>
                      <a:r>
                        <a:rPr lang="en-US" sz="1400" b="0" dirty="0">
                          <a:latin typeface="Garamond" panose="02020404030301010803" pitchFamily="18" charset="0"/>
                        </a:rPr>
                        <a:t>Targeted alumni interviews to understand drivers</a:t>
                      </a:r>
                      <a:r>
                        <a:rPr lang="en-US" sz="1400" b="0" baseline="0" dirty="0">
                          <a:latin typeface="Garamond" panose="02020404030301010803" pitchFamily="18" charset="0"/>
                        </a:rPr>
                        <a:t> of college success for our alumni</a:t>
                      </a:r>
                      <a:endParaRPr lang="en-US" sz="1400" b="0" dirty="0">
                        <a:latin typeface="Garamond" panose="02020404030301010803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8852562"/>
                  </a:ext>
                </a:extLst>
              </a:tr>
            </a:tbl>
          </a:graphicData>
        </a:graphic>
      </p:graphicFrame>
      <p:graphicFrame>
        <p:nvGraphicFramePr>
          <p:cNvPr id="9" name="Diagram 8" descr="Alumni data cycle"/>
          <p:cNvGraphicFramePr/>
          <p:nvPr>
            <p:extLst>
              <p:ext uri="{D42A27DB-BD31-4B8C-83A1-F6EECF244321}">
                <p14:modId xmlns:p14="http://schemas.microsoft.com/office/powerpoint/2010/main" val="810721691"/>
              </p:ext>
            </p:extLst>
          </p:nvPr>
        </p:nvGraphicFramePr>
        <p:xfrm>
          <a:off x="457200" y="177800"/>
          <a:ext cx="8229600" cy="431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401338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52339</_dlc_DocId>
    <_dlc_DocIdUrl xmlns="733efe1c-5bbe-4968-87dc-d400e65c879f">
      <Url>https://sharepoint.doemass.org/ese/webteam/cps/_layouts/DocIdRedir.aspx?ID=DESE-231-52339</Url>
      <Description>DESE-231-52339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3a5a55f13e9bb649c79d8b6e4cc9fe8c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9f746412060615af2bac066d19f8186c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52DEC5-512C-4D3C-8804-A2B7D12D027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D9650EB1-2B79-4358-90E1-025E01DA4D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A33491-2C02-4256-8E81-E00180F8DA46}">
  <ds:schemaRefs>
    <ds:schemaRef ds:uri="http://schemas.microsoft.com/office/2006/metadata/properties"/>
    <ds:schemaRef ds:uri="http://schemas.microsoft.com/office/infopath/2007/PartnerControls"/>
    <ds:schemaRef ds:uri="0a4e05da-b9bc-4326-ad73-01ef31b95567"/>
    <ds:schemaRef ds:uri="733efe1c-5bbe-4968-87dc-d400e65c879f"/>
  </ds:schemaRefs>
</ds:datastoreItem>
</file>

<file path=customXml/itemProps4.xml><?xml version="1.0" encoding="utf-8"?>
<ds:datastoreItem xmlns:ds="http://schemas.openxmlformats.org/officeDocument/2006/customXml" ds:itemID="{2EEB58CE-7003-4CE7-896C-52BDA37840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4e05da-b9bc-4326-ad73-01ef31b95567"/>
    <ds:schemaRef ds:uri="733efe1c-5bbe-4968-87dc-d400e65c87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765</TotalTime>
  <Words>1258</Words>
  <Application>Microsoft Office PowerPoint</Application>
  <PresentationFormat>On-screen Show (4:3)</PresentationFormat>
  <Paragraphs>307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Century Schoolbook</vt:lpstr>
      <vt:lpstr>Garamond</vt:lpstr>
      <vt:lpstr>1_Office Theme</vt:lpstr>
      <vt:lpstr>think-cell Slide</vt:lpstr>
      <vt:lpstr>Data Cycles with EWIS May 31st, 2019 </vt:lpstr>
      <vt:lpstr>Agenda</vt:lpstr>
      <vt:lpstr>mission</vt:lpstr>
      <vt:lpstr>Boston Prep History </vt:lpstr>
      <vt:lpstr>Boston Prep Overview </vt:lpstr>
      <vt:lpstr>  Boston Prep Overview </vt:lpstr>
      <vt:lpstr>Data Team </vt:lpstr>
      <vt:lpstr>Annual Persistence data cycle </vt:lpstr>
      <vt:lpstr>Get organized </vt:lpstr>
      <vt:lpstr>Step 2: Review EWIS Data </vt:lpstr>
      <vt:lpstr>Step 3-4: Explore Underlying Causes; Take Action College and alumni counselors plan supports and interventions. Counselors conduct prioritized outreach </vt:lpstr>
      <vt:lpstr>Step 5: Monitor Students and Interventions NSC data and periodic check-ins help us track progress </vt:lpstr>
      <vt:lpstr>Step 6: Refine the Process Targeted alumni interviews to understand drivers of college success for our alumni </vt:lpstr>
      <vt:lpstr>Annual MS/HS data cycle </vt:lpstr>
      <vt:lpstr>Weekly MS/HS data cycle </vt:lpstr>
      <vt:lpstr>EWIS 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ston Prep Data Showcase Project</dc:title>
  <dc:creator>DESE</dc:creator>
  <cp:lastModifiedBy>Zou, Dong (EOE)</cp:lastModifiedBy>
  <cp:revision>107</cp:revision>
  <cp:lastPrinted>2017-03-21T14:39:11Z</cp:lastPrinted>
  <dcterms:created xsi:type="dcterms:W3CDTF">2015-08-17T17:42:22Z</dcterms:created>
  <dcterms:modified xsi:type="dcterms:W3CDTF">2019-06-20T20:4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Jun 20 2019</vt:lpwstr>
  </property>
</Properties>
</file>